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7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0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notesSlides/notesSlide17.xml" ContentType="application/vnd.openxmlformats-officedocument.presentationml.notesSl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notesSlides/notesSlide18.xml" ContentType="application/vnd.openxmlformats-officedocument.presentationml.notesSlide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tags/tag189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45"/>
  </p:notesMasterIdLst>
  <p:handoutMasterIdLst>
    <p:handoutMasterId r:id="rId46"/>
  </p:handoutMasterIdLst>
  <p:sldIdLst>
    <p:sldId id="374" r:id="rId4"/>
    <p:sldId id="375" r:id="rId5"/>
    <p:sldId id="369" r:id="rId6"/>
    <p:sldId id="347" r:id="rId7"/>
    <p:sldId id="364" r:id="rId8"/>
    <p:sldId id="368" r:id="rId9"/>
    <p:sldId id="370" r:id="rId10"/>
    <p:sldId id="348" r:id="rId11"/>
    <p:sldId id="665" r:id="rId12"/>
    <p:sldId id="373" r:id="rId13"/>
    <p:sldId id="352" r:id="rId14"/>
    <p:sldId id="376" r:id="rId15"/>
    <p:sldId id="660" r:id="rId16"/>
    <p:sldId id="351" r:id="rId17"/>
    <p:sldId id="657" r:id="rId18"/>
    <p:sldId id="658" r:id="rId19"/>
    <p:sldId id="654" r:id="rId20"/>
    <p:sldId id="653" r:id="rId21"/>
    <p:sldId id="576" r:id="rId22"/>
    <p:sldId id="655" r:id="rId23"/>
    <p:sldId id="652" r:id="rId24"/>
    <p:sldId id="578" r:id="rId25"/>
    <p:sldId id="651" r:id="rId26"/>
    <p:sldId id="661" r:id="rId27"/>
    <p:sldId id="354" r:id="rId28"/>
    <p:sldId id="572" r:id="rId29"/>
    <p:sldId id="573" r:id="rId30"/>
    <p:sldId id="650" r:id="rId31"/>
    <p:sldId id="577" r:id="rId32"/>
    <p:sldId id="649" r:id="rId33"/>
    <p:sldId id="662" r:id="rId34"/>
    <p:sldId id="656" r:id="rId35"/>
    <p:sldId id="356" r:id="rId36"/>
    <p:sldId id="663" r:id="rId37"/>
    <p:sldId id="358" r:id="rId38"/>
    <p:sldId id="367" r:id="rId39"/>
    <p:sldId id="359" r:id="rId40"/>
    <p:sldId id="360" r:id="rId41"/>
    <p:sldId id="361" r:id="rId42"/>
    <p:sldId id="362" r:id="rId43"/>
    <p:sldId id="378" r:id="rId44"/>
  </p:sldIdLst>
  <p:sldSz cx="9906000" cy="6858000" type="A4"/>
  <p:notesSz cx="6896100" cy="10033000"/>
  <p:custDataLst>
    <p:tags r:id="rId4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>
          <p15:clr>
            <a:srgbClr val="A4A3A4"/>
          </p15:clr>
        </p15:guide>
        <p15:guide id="2" orient="horz" pos="1117">
          <p15:clr>
            <a:srgbClr val="A4A3A4"/>
          </p15:clr>
        </p15:guide>
        <p15:guide id="3" pos="172">
          <p15:clr>
            <a:srgbClr val="A4A3A4"/>
          </p15:clr>
        </p15:guide>
        <p15:guide id="4" pos="6068">
          <p15:clr>
            <a:srgbClr val="A4A3A4"/>
          </p15:clr>
        </p15:guide>
        <p15:guide id="5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61">
          <p15:clr>
            <a:srgbClr val="A4A3A4"/>
          </p15:clr>
        </p15:guide>
        <p15:guide id="2" pos="217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181E"/>
    <a:srgbClr val="612429"/>
    <a:srgbClr val="A82B36"/>
    <a:srgbClr val="AD333F"/>
    <a:srgbClr val="331145"/>
    <a:srgbClr val="DA9C00"/>
    <a:srgbClr val="005B7C"/>
    <a:srgbClr val="6A9529"/>
    <a:srgbClr val="0085B3"/>
    <a:srgbClr val="AF1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42" autoAdjust="0"/>
    <p:restoredTop sz="89245" autoAdjust="0"/>
  </p:normalViewPr>
  <p:slideViewPr>
    <p:cSldViewPr>
      <p:cViewPr varScale="1">
        <p:scale>
          <a:sx n="77" d="100"/>
          <a:sy n="77" d="100"/>
        </p:scale>
        <p:origin x="1157" y="5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/Relationships>
</file>

<file path=ppt/diagrams/_rels/data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diagrams/_rels/data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svg"/><Relationship Id="rId1" Type="http://schemas.openxmlformats.org/officeDocument/2006/relationships/image" Target="../media/image58.png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diagrams/_rels/drawing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diagrams/_rels/drawing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svg"/><Relationship Id="rId1" Type="http://schemas.openxmlformats.org/officeDocument/2006/relationships/image" Target="../media/image58.png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#1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#119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#1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1#7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colorful1#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1#7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colorful1#8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colorful1#9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colorful1#10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1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/>
      <dgm:t>
        <a:bodyPr/>
        <a:lstStyle/>
        <a:p>
          <a:br>
            <a:rPr lang="pl-PL" sz="2400"/>
          </a:br>
          <a:r>
            <a:rPr lang="en-US" sz="2400"/>
            <a:t>UI</a:t>
          </a:r>
          <a:endParaRPr lang="en-US" sz="2400" dirty="0"/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/>
      <dgm:t>
        <a:bodyPr/>
        <a:lstStyle/>
        <a:p>
          <a:r>
            <a:rPr lang="en-US" sz="24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/>
      <dgm:t>
        <a:bodyPr/>
        <a:lstStyle/>
        <a:p>
          <a:r>
            <a:rPr lang="en-US" sz="2400" dirty="0"/>
            <a:t>Unit</a:t>
          </a:r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DCB00E39-45B0-4E69-A085-E493DE4D6F10}" type="presOf" srcId="{F7E37FBC-8099-4DB3-B4F8-DBDE0DCEC1D7}" destId="{7008F9DC-B4CA-4C47-ACF8-16602824A142}" srcOrd="1" destOrd="0" presId="urn:microsoft.com/office/officeart/2005/8/layout/pyramid1"/>
    <dgm:cxn modelId="{62456561-0FA9-41F7-9BEA-AEBA51E9C230}" type="presOf" srcId="{40285531-BAEE-43E6-BBD4-8249575B1878}" destId="{D9074314-C21A-447C-9E4D-59C6F495C412}" srcOrd="0" destOrd="0" presId="urn:microsoft.com/office/officeart/2005/8/layout/pyramid1"/>
    <dgm:cxn modelId="{3F391467-94C9-4622-A241-B0B969CE31FF}" type="presOf" srcId="{6160D3D4-613A-4519-A481-F89ADD5F7320}" destId="{891CA3F0-A4E4-43F8-949C-180B2AB3BCFE}" srcOrd="0" destOrd="0" presId="urn:microsoft.com/office/officeart/2005/8/layout/pyramid1"/>
    <dgm:cxn modelId="{363C1752-9116-4B27-969F-967B869456AD}" type="presOf" srcId="{6ED7E280-935A-4740-AB58-C0FAE580BFA8}" destId="{B615F79F-706C-4309-9FFC-D94774F354E8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C041B9D-F412-402C-860A-111E54F17609}" type="presOf" srcId="{40285531-BAEE-43E6-BBD4-8249575B1878}" destId="{9A3F85C7-0AE1-424E-8646-B4248B01294E}" srcOrd="1" destOrd="0" presId="urn:microsoft.com/office/officeart/2005/8/layout/pyramid1"/>
    <dgm:cxn modelId="{BAC19E9F-F7AD-4900-8D3D-5266E169D150}" type="presOf" srcId="{F7E37FBC-8099-4DB3-B4F8-DBDE0DCEC1D7}" destId="{9BFA4AC6-E825-4477-B889-F9C66C1195B8}" srcOrd="0" destOrd="0" presId="urn:microsoft.com/office/officeart/2005/8/layout/pyramid1"/>
    <dgm:cxn modelId="{CCCE41B6-4F52-47A5-A87C-960CD08A4969}" type="presOf" srcId="{6ED7E280-935A-4740-AB58-C0FAE580BFA8}" destId="{3DF1A04F-9824-4FA2-8E9B-69197A34DB02}" srcOrd="0" destOrd="0" presId="urn:microsoft.com/office/officeart/2005/8/layout/pyramid1"/>
    <dgm:cxn modelId="{0C4C987D-11A8-4C22-93AE-593DF0447F31}" type="presParOf" srcId="{891CA3F0-A4E4-43F8-949C-180B2AB3BCFE}" destId="{24A053E9-ED32-40AA-8B2A-BD33F0C11AE2}" srcOrd="0" destOrd="0" presId="urn:microsoft.com/office/officeart/2005/8/layout/pyramid1"/>
    <dgm:cxn modelId="{7A5E5B50-5D9B-4BAB-90AB-82CBEF669AB9}" type="presParOf" srcId="{24A053E9-ED32-40AA-8B2A-BD33F0C11AE2}" destId="{9BFA4AC6-E825-4477-B889-F9C66C1195B8}" srcOrd="0" destOrd="0" presId="urn:microsoft.com/office/officeart/2005/8/layout/pyramid1"/>
    <dgm:cxn modelId="{0D7D8533-D865-46FC-B6CC-E767F836B98A}" type="presParOf" srcId="{24A053E9-ED32-40AA-8B2A-BD33F0C11AE2}" destId="{7008F9DC-B4CA-4C47-ACF8-16602824A142}" srcOrd="1" destOrd="0" presId="urn:microsoft.com/office/officeart/2005/8/layout/pyramid1"/>
    <dgm:cxn modelId="{5783AB46-6B68-4BA4-A0B5-F720AB39977D}" type="presParOf" srcId="{891CA3F0-A4E4-43F8-949C-180B2AB3BCFE}" destId="{141F8D72-3F15-4CC5-95F4-F3EA15242490}" srcOrd="1" destOrd="0" presId="urn:microsoft.com/office/officeart/2005/8/layout/pyramid1"/>
    <dgm:cxn modelId="{5CD84C0A-896C-4CBB-8802-2F5759ADDCC8}" type="presParOf" srcId="{141F8D72-3F15-4CC5-95F4-F3EA15242490}" destId="{3DF1A04F-9824-4FA2-8E9B-69197A34DB02}" srcOrd="0" destOrd="0" presId="urn:microsoft.com/office/officeart/2005/8/layout/pyramid1"/>
    <dgm:cxn modelId="{030E836D-82B4-42CE-8D10-8F1FEE50545B}" type="presParOf" srcId="{141F8D72-3F15-4CC5-95F4-F3EA15242490}" destId="{B615F79F-706C-4309-9FFC-D94774F354E8}" srcOrd="1" destOrd="0" presId="urn:microsoft.com/office/officeart/2005/8/layout/pyramid1"/>
    <dgm:cxn modelId="{F75B5DDF-D32A-4E8D-94BA-EFE3B67BD23B}" type="presParOf" srcId="{891CA3F0-A4E4-43F8-949C-180B2AB3BCFE}" destId="{6B315756-5F49-4E5C-B814-8281ACC31042}" srcOrd="2" destOrd="0" presId="urn:microsoft.com/office/officeart/2005/8/layout/pyramid1"/>
    <dgm:cxn modelId="{D2C7B38F-3E67-4606-AE00-ADB08E2AE826}" type="presParOf" srcId="{6B315756-5F49-4E5C-B814-8281ACC31042}" destId="{D9074314-C21A-447C-9E4D-59C6F495C412}" srcOrd="0" destOrd="0" presId="urn:microsoft.com/office/officeart/2005/8/layout/pyramid1"/>
    <dgm:cxn modelId="{61FED245-8276-44B2-9D47-0790CA08CEF0}" type="presParOf" srcId="{6B315756-5F49-4E5C-B814-8281ACC31042}" destId="{9A3F85C7-0AE1-424E-8646-B4248B01294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C36F477-0130-483A-975C-A31B99CF3F4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5B2AB8F-4990-4B14-ACC9-8F684FDF02FE}">
      <dgm:prSet phldrT="[Text]"/>
      <dgm:spPr/>
      <dgm:t>
        <a:bodyPr/>
        <a:lstStyle/>
        <a:p>
          <a:r>
            <a:rPr lang="pl-PL" dirty="0"/>
            <a:t>Framework backend</a:t>
          </a:r>
          <a:endParaRPr lang="en-US" dirty="0"/>
        </a:p>
      </dgm:t>
    </dgm:pt>
    <dgm:pt modelId="{394332DD-A105-4054-B541-734088DCAD5D}" type="parTrans" cxnId="{61C274B3-1301-4995-92CE-DA40DFDF16A8}">
      <dgm:prSet/>
      <dgm:spPr/>
      <dgm:t>
        <a:bodyPr/>
        <a:lstStyle/>
        <a:p>
          <a:endParaRPr lang="en-US"/>
        </a:p>
      </dgm:t>
    </dgm:pt>
    <dgm:pt modelId="{D089354F-297C-4354-A50E-6A39D5A102EB}" type="sibTrans" cxnId="{61C274B3-1301-4995-92CE-DA40DFDF16A8}">
      <dgm:prSet/>
      <dgm:spPr/>
      <dgm:t>
        <a:bodyPr/>
        <a:lstStyle/>
        <a:p>
          <a:endParaRPr lang="en-US"/>
        </a:p>
      </dgm:t>
    </dgm:pt>
    <dgm:pt modelId="{54812F7F-C3F9-45F5-A5AD-68D320B6379A}">
      <dgm:prSet phldrT="[Text]"/>
      <dgm:spPr/>
      <dgm:t>
        <a:bodyPr/>
        <a:lstStyle/>
        <a:p>
          <a:r>
            <a:rPr lang="en-US" noProof="0" dirty="0"/>
            <a:t>Selenium Grid infrastructure</a:t>
          </a:r>
          <a:endParaRPr lang="en-US" dirty="0"/>
        </a:p>
      </dgm:t>
    </dgm:pt>
    <dgm:pt modelId="{30FCAE17-A90F-4B09-B76E-F1673FE8373C}" type="parTrans" cxnId="{163E16B5-F1D0-4C69-B495-C4B5A9D25B7B}">
      <dgm:prSet/>
      <dgm:spPr/>
      <dgm:t>
        <a:bodyPr/>
        <a:lstStyle/>
        <a:p>
          <a:endParaRPr lang="en-US"/>
        </a:p>
      </dgm:t>
    </dgm:pt>
    <dgm:pt modelId="{65F7F605-5A89-42BE-B781-02AE69A77482}" type="sibTrans" cxnId="{163E16B5-F1D0-4C69-B495-C4B5A9D25B7B}">
      <dgm:prSet/>
      <dgm:spPr/>
      <dgm:t>
        <a:bodyPr/>
        <a:lstStyle/>
        <a:p>
          <a:endParaRPr lang="en-US"/>
        </a:p>
      </dgm:t>
    </dgm:pt>
    <dgm:pt modelId="{C79C1501-E3D1-4F74-8489-FCB6EA5CBE7D}">
      <dgm:prSet phldrT="[Text]"/>
      <dgm:spPr/>
      <dgm:t>
        <a:bodyPr/>
        <a:lstStyle/>
        <a:p>
          <a:r>
            <a:rPr lang="en-US" noProof="0" dirty="0"/>
            <a:t>DevOps infrastructure</a:t>
          </a:r>
        </a:p>
      </dgm:t>
    </dgm:pt>
    <dgm:pt modelId="{503B8BCD-D78F-4AF8-956A-776D5BF6F614}" type="parTrans" cxnId="{88C55D57-7135-4D5F-8BA9-0BBABBD26537}">
      <dgm:prSet/>
      <dgm:spPr/>
      <dgm:t>
        <a:bodyPr/>
        <a:lstStyle/>
        <a:p>
          <a:endParaRPr lang="en-US"/>
        </a:p>
      </dgm:t>
    </dgm:pt>
    <dgm:pt modelId="{2EF41ED8-C678-4483-8D07-24D0142E9B7B}" type="sibTrans" cxnId="{88C55D57-7135-4D5F-8BA9-0BBABBD26537}">
      <dgm:prSet/>
      <dgm:spPr/>
      <dgm:t>
        <a:bodyPr/>
        <a:lstStyle/>
        <a:p>
          <a:endParaRPr lang="en-US"/>
        </a:p>
      </dgm:t>
    </dgm:pt>
    <dgm:pt modelId="{4687B6CE-55C6-4368-946E-7ACD00A6B747}">
      <dgm:prSet phldrT="[Text]"/>
      <dgm:spPr/>
      <dgm:t>
        <a:bodyPr/>
        <a:lstStyle/>
        <a:p>
          <a:r>
            <a:rPr lang="en-US" noProof="0" dirty="0"/>
            <a:t>Mobile Grid infrastructure *</a:t>
          </a:r>
        </a:p>
      </dgm:t>
    </dgm:pt>
    <dgm:pt modelId="{8BBA0272-0F9D-4E70-903C-A07460C6AD31}" type="parTrans" cxnId="{3CBB6574-174A-4186-871F-B574888ADB71}">
      <dgm:prSet/>
      <dgm:spPr/>
      <dgm:t>
        <a:bodyPr/>
        <a:lstStyle/>
        <a:p>
          <a:endParaRPr lang="en-US"/>
        </a:p>
      </dgm:t>
    </dgm:pt>
    <dgm:pt modelId="{3AF64E71-DADA-46AD-84E4-A185DDA4ECBC}" type="sibTrans" cxnId="{3CBB6574-174A-4186-871F-B574888ADB71}">
      <dgm:prSet/>
      <dgm:spPr/>
      <dgm:t>
        <a:bodyPr/>
        <a:lstStyle/>
        <a:p>
          <a:endParaRPr lang="en-US"/>
        </a:p>
      </dgm:t>
    </dgm:pt>
    <dgm:pt modelId="{E46989EF-C0B2-4241-B99C-0C1160F5B385}" type="pres">
      <dgm:prSet presAssocID="{8C36F477-0130-483A-975C-A31B99CF3F4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38CE24C-61F0-4CD3-8D71-E702A327FFD7}" type="pres">
      <dgm:prSet presAssocID="{15B2AB8F-4990-4B14-ACC9-8F684FDF02FE}" presName="root1" presStyleCnt="0"/>
      <dgm:spPr/>
    </dgm:pt>
    <dgm:pt modelId="{8B2D18F4-2303-41EA-9C6A-DBA0FC292FE4}" type="pres">
      <dgm:prSet presAssocID="{15B2AB8F-4990-4B14-ACC9-8F684FDF02FE}" presName="LevelOneTextNode" presStyleLbl="node0" presStyleIdx="0" presStyleCnt="1">
        <dgm:presLayoutVars>
          <dgm:chPref val="3"/>
        </dgm:presLayoutVars>
      </dgm:prSet>
      <dgm:spPr/>
    </dgm:pt>
    <dgm:pt modelId="{30584AB5-E716-4E91-A54A-57C953A9CC8B}" type="pres">
      <dgm:prSet presAssocID="{15B2AB8F-4990-4B14-ACC9-8F684FDF02FE}" presName="level2hierChild" presStyleCnt="0"/>
      <dgm:spPr/>
    </dgm:pt>
    <dgm:pt modelId="{C5347D16-69A4-4A1C-911A-BE9E3ACB07FA}" type="pres">
      <dgm:prSet presAssocID="{30FCAE17-A90F-4B09-B76E-F1673FE8373C}" presName="conn2-1" presStyleLbl="parChTrans1D2" presStyleIdx="0" presStyleCnt="3"/>
      <dgm:spPr/>
    </dgm:pt>
    <dgm:pt modelId="{F0B210C3-EDF3-4150-86A7-398157A01F2D}" type="pres">
      <dgm:prSet presAssocID="{30FCAE17-A90F-4B09-B76E-F1673FE8373C}" presName="connTx" presStyleLbl="parChTrans1D2" presStyleIdx="0" presStyleCnt="3"/>
      <dgm:spPr/>
    </dgm:pt>
    <dgm:pt modelId="{75C7D79D-E0D7-46C8-A21E-8E8A3EA363AC}" type="pres">
      <dgm:prSet presAssocID="{54812F7F-C3F9-45F5-A5AD-68D320B6379A}" presName="root2" presStyleCnt="0"/>
      <dgm:spPr/>
    </dgm:pt>
    <dgm:pt modelId="{A865B8FE-204B-458F-AD2A-174048ABFDAA}" type="pres">
      <dgm:prSet presAssocID="{54812F7F-C3F9-45F5-A5AD-68D320B6379A}" presName="LevelTwoTextNode" presStyleLbl="node2" presStyleIdx="0" presStyleCnt="3">
        <dgm:presLayoutVars>
          <dgm:chPref val="3"/>
        </dgm:presLayoutVars>
      </dgm:prSet>
      <dgm:spPr/>
    </dgm:pt>
    <dgm:pt modelId="{417EFD4F-B9CC-4695-868C-B9AAB89A4CC1}" type="pres">
      <dgm:prSet presAssocID="{54812F7F-C3F9-45F5-A5AD-68D320B6379A}" presName="level3hierChild" presStyleCnt="0"/>
      <dgm:spPr/>
    </dgm:pt>
    <dgm:pt modelId="{4D0365CF-6D31-4918-98F2-1E086D6CF83F}" type="pres">
      <dgm:prSet presAssocID="{503B8BCD-D78F-4AF8-956A-776D5BF6F614}" presName="conn2-1" presStyleLbl="parChTrans1D2" presStyleIdx="1" presStyleCnt="3"/>
      <dgm:spPr/>
    </dgm:pt>
    <dgm:pt modelId="{C0CAF0E7-DA92-4DEA-A1DC-D18220049E47}" type="pres">
      <dgm:prSet presAssocID="{503B8BCD-D78F-4AF8-956A-776D5BF6F614}" presName="connTx" presStyleLbl="parChTrans1D2" presStyleIdx="1" presStyleCnt="3"/>
      <dgm:spPr/>
    </dgm:pt>
    <dgm:pt modelId="{C7971305-EA1F-498B-84A5-95B674F00BDD}" type="pres">
      <dgm:prSet presAssocID="{C79C1501-E3D1-4F74-8489-FCB6EA5CBE7D}" presName="root2" presStyleCnt="0"/>
      <dgm:spPr/>
    </dgm:pt>
    <dgm:pt modelId="{41688CBD-0D4D-494F-BC13-6D079E734E6E}" type="pres">
      <dgm:prSet presAssocID="{C79C1501-E3D1-4F74-8489-FCB6EA5CBE7D}" presName="LevelTwoTextNode" presStyleLbl="node2" presStyleIdx="1" presStyleCnt="3">
        <dgm:presLayoutVars>
          <dgm:chPref val="3"/>
        </dgm:presLayoutVars>
      </dgm:prSet>
      <dgm:spPr/>
    </dgm:pt>
    <dgm:pt modelId="{77B89E81-62DE-45F7-9C0D-5F40B40EC23A}" type="pres">
      <dgm:prSet presAssocID="{C79C1501-E3D1-4F74-8489-FCB6EA5CBE7D}" presName="level3hierChild" presStyleCnt="0"/>
      <dgm:spPr/>
    </dgm:pt>
    <dgm:pt modelId="{9935F8B4-2A29-48E0-BE3F-6C005296EF88}" type="pres">
      <dgm:prSet presAssocID="{8BBA0272-0F9D-4E70-903C-A07460C6AD31}" presName="conn2-1" presStyleLbl="parChTrans1D2" presStyleIdx="2" presStyleCnt="3"/>
      <dgm:spPr/>
    </dgm:pt>
    <dgm:pt modelId="{7BC9B2F8-CBD0-45C9-AB8B-8C3DACD17B80}" type="pres">
      <dgm:prSet presAssocID="{8BBA0272-0F9D-4E70-903C-A07460C6AD31}" presName="connTx" presStyleLbl="parChTrans1D2" presStyleIdx="2" presStyleCnt="3"/>
      <dgm:spPr/>
    </dgm:pt>
    <dgm:pt modelId="{7B9D7306-738C-4402-88DD-B0B5C3A30727}" type="pres">
      <dgm:prSet presAssocID="{4687B6CE-55C6-4368-946E-7ACD00A6B747}" presName="root2" presStyleCnt="0"/>
      <dgm:spPr/>
    </dgm:pt>
    <dgm:pt modelId="{EE086444-574C-4D71-8BB2-09D0D33133C9}" type="pres">
      <dgm:prSet presAssocID="{4687B6CE-55C6-4368-946E-7ACD00A6B747}" presName="LevelTwoTextNode" presStyleLbl="node2" presStyleIdx="2" presStyleCnt="3">
        <dgm:presLayoutVars>
          <dgm:chPref val="3"/>
        </dgm:presLayoutVars>
      </dgm:prSet>
      <dgm:spPr/>
    </dgm:pt>
    <dgm:pt modelId="{D38AA576-BA88-4F1F-9285-FA9A1EF768FC}" type="pres">
      <dgm:prSet presAssocID="{4687B6CE-55C6-4368-946E-7ACD00A6B747}" presName="level3hierChild" presStyleCnt="0"/>
      <dgm:spPr/>
    </dgm:pt>
  </dgm:ptLst>
  <dgm:cxnLst>
    <dgm:cxn modelId="{FF8D110A-44B2-4AC2-9860-F4465AD0696D}" type="presOf" srcId="{4687B6CE-55C6-4368-946E-7ACD00A6B747}" destId="{EE086444-574C-4D71-8BB2-09D0D33133C9}" srcOrd="0" destOrd="0" presId="urn:microsoft.com/office/officeart/2008/layout/HorizontalMultiLevelHierarchy"/>
    <dgm:cxn modelId="{157F4525-02FC-4CCA-9DB4-29AEFEAF29C6}" type="presOf" srcId="{30FCAE17-A90F-4B09-B76E-F1673FE8373C}" destId="{F0B210C3-EDF3-4150-86A7-398157A01F2D}" srcOrd="1" destOrd="0" presId="urn:microsoft.com/office/officeart/2008/layout/HorizontalMultiLevelHierarchy"/>
    <dgm:cxn modelId="{25CCB240-9DD5-4E6D-A19C-8ABE17F95774}" type="presOf" srcId="{30FCAE17-A90F-4B09-B76E-F1673FE8373C}" destId="{C5347D16-69A4-4A1C-911A-BE9E3ACB07FA}" srcOrd="0" destOrd="0" presId="urn:microsoft.com/office/officeart/2008/layout/HorizontalMultiLevelHierarchy"/>
    <dgm:cxn modelId="{E647285C-DECA-43B5-8A8E-41A7BFAE3827}" type="presOf" srcId="{503B8BCD-D78F-4AF8-956A-776D5BF6F614}" destId="{4D0365CF-6D31-4918-98F2-1E086D6CF83F}" srcOrd="0" destOrd="0" presId="urn:microsoft.com/office/officeart/2008/layout/HorizontalMultiLevelHierarchy"/>
    <dgm:cxn modelId="{29D9915C-6482-4F4C-972E-A58126324386}" type="presOf" srcId="{15B2AB8F-4990-4B14-ACC9-8F684FDF02FE}" destId="{8B2D18F4-2303-41EA-9C6A-DBA0FC292FE4}" srcOrd="0" destOrd="0" presId="urn:microsoft.com/office/officeart/2008/layout/HorizontalMultiLevelHierarchy"/>
    <dgm:cxn modelId="{536E8A50-B51E-4C91-B01A-9FCBC363214F}" type="presOf" srcId="{8C36F477-0130-483A-975C-A31B99CF3F42}" destId="{E46989EF-C0B2-4241-B99C-0C1160F5B385}" srcOrd="0" destOrd="0" presId="urn:microsoft.com/office/officeart/2008/layout/HorizontalMultiLevelHierarchy"/>
    <dgm:cxn modelId="{3CBB6574-174A-4186-871F-B574888ADB71}" srcId="{15B2AB8F-4990-4B14-ACC9-8F684FDF02FE}" destId="{4687B6CE-55C6-4368-946E-7ACD00A6B747}" srcOrd="2" destOrd="0" parTransId="{8BBA0272-0F9D-4E70-903C-A07460C6AD31}" sibTransId="{3AF64E71-DADA-46AD-84E4-A185DDA4ECBC}"/>
    <dgm:cxn modelId="{986AD374-C81B-4E79-AB71-D4D86AEB7BCC}" type="presOf" srcId="{54812F7F-C3F9-45F5-A5AD-68D320B6379A}" destId="{A865B8FE-204B-458F-AD2A-174048ABFDAA}" srcOrd="0" destOrd="0" presId="urn:microsoft.com/office/officeart/2008/layout/HorizontalMultiLevelHierarchy"/>
    <dgm:cxn modelId="{88C55D57-7135-4D5F-8BA9-0BBABBD26537}" srcId="{15B2AB8F-4990-4B14-ACC9-8F684FDF02FE}" destId="{C79C1501-E3D1-4F74-8489-FCB6EA5CBE7D}" srcOrd="1" destOrd="0" parTransId="{503B8BCD-D78F-4AF8-956A-776D5BF6F614}" sibTransId="{2EF41ED8-C678-4483-8D07-24D0142E9B7B}"/>
    <dgm:cxn modelId="{741FCDA7-771F-46DC-B9FE-087171DC3A0D}" type="presOf" srcId="{8BBA0272-0F9D-4E70-903C-A07460C6AD31}" destId="{9935F8B4-2A29-48E0-BE3F-6C005296EF88}" srcOrd="0" destOrd="0" presId="urn:microsoft.com/office/officeart/2008/layout/HorizontalMultiLevelHierarchy"/>
    <dgm:cxn modelId="{61C274B3-1301-4995-92CE-DA40DFDF16A8}" srcId="{8C36F477-0130-483A-975C-A31B99CF3F42}" destId="{15B2AB8F-4990-4B14-ACC9-8F684FDF02FE}" srcOrd="0" destOrd="0" parTransId="{394332DD-A105-4054-B541-734088DCAD5D}" sibTransId="{D089354F-297C-4354-A50E-6A39D5A102EB}"/>
    <dgm:cxn modelId="{163E16B5-F1D0-4C69-B495-C4B5A9D25B7B}" srcId="{15B2AB8F-4990-4B14-ACC9-8F684FDF02FE}" destId="{54812F7F-C3F9-45F5-A5AD-68D320B6379A}" srcOrd="0" destOrd="0" parTransId="{30FCAE17-A90F-4B09-B76E-F1673FE8373C}" sibTransId="{65F7F605-5A89-42BE-B781-02AE69A77482}"/>
    <dgm:cxn modelId="{A372BDDF-77E8-4BC7-BC90-F185CE1989EB}" type="presOf" srcId="{C79C1501-E3D1-4F74-8489-FCB6EA5CBE7D}" destId="{41688CBD-0D4D-494F-BC13-6D079E734E6E}" srcOrd="0" destOrd="0" presId="urn:microsoft.com/office/officeart/2008/layout/HorizontalMultiLevelHierarchy"/>
    <dgm:cxn modelId="{4224BBE9-148D-4A49-AB54-73EA092ECC0E}" type="presOf" srcId="{503B8BCD-D78F-4AF8-956A-776D5BF6F614}" destId="{C0CAF0E7-DA92-4DEA-A1DC-D18220049E47}" srcOrd="1" destOrd="0" presId="urn:microsoft.com/office/officeart/2008/layout/HorizontalMultiLevelHierarchy"/>
    <dgm:cxn modelId="{3383AEF1-84B5-485A-A93B-5FA3DE19C93A}" type="presOf" srcId="{8BBA0272-0F9D-4E70-903C-A07460C6AD31}" destId="{7BC9B2F8-CBD0-45C9-AB8B-8C3DACD17B80}" srcOrd="1" destOrd="0" presId="urn:microsoft.com/office/officeart/2008/layout/HorizontalMultiLevelHierarchy"/>
    <dgm:cxn modelId="{7245F20F-880F-4F97-A69A-A5C89A845205}" type="presParOf" srcId="{E46989EF-C0B2-4241-B99C-0C1160F5B385}" destId="{B38CE24C-61F0-4CD3-8D71-E702A327FFD7}" srcOrd="0" destOrd="0" presId="urn:microsoft.com/office/officeart/2008/layout/HorizontalMultiLevelHierarchy"/>
    <dgm:cxn modelId="{C384FEB2-C6A5-41CC-8DE2-BD8BE274E1DB}" type="presParOf" srcId="{B38CE24C-61F0-4CD3-8D71-E702A327FFD7}" destId="{8B2D18F4-2303-41EA-9C6A-DBA0FC292FE4}" srcOrd="0" destOrd="0" presId="urn:microsoft.com/office/officeart/2008/layout/HorizontalMultiLevelHierarchy"/>
    <dgm:cxn modelId="{40AB0955-F09D-413B-A844-7D6756EAE304}" type="presParOf" srcId="{B38CE24C-61F0-4CD3-8D71-E702A327FFD7}" destId="{30584AB5-E716-4E91-A54A-57C953A9CC8B}" srcOrd="1" destOrd="0" presId="urn:microsoft.com/office/officeart/2008/layout/HorizontalMultiLevelHierarchy"/>
    <dgm:cxn modelId="{52CBB97A-ACB8-4148-AFBA-1A699009EFC2}" type="presParOf" srcId="{30584AB5-E716-4E91-A54A-57C953A9CC8B}" destId="{C5347D16-69A4-4A1C-911A-BE9E3ACB07FA}" srcOrd="0" destOrd="0" presId="urn:microsoft.com/office/officeart/2008/layout/HorizontalMultiLevelHierarchy"/>
    <dgm:cxn modelId="{B85DF122-B81F-4DED-8C86-4752BCF127CB}" type="presParOf" srcId="{C5347D16-69A4-4A1C-911A-BE9E3ACB07FA}" destId="{F0B210C3-EDF3-4150-86A7-398157A01F2D}" srcOrd="0" destOrd="0" presId="urn:microsoft.com/office/officeart/2008/layout/HorizontalMultiLevelHierarchy"/>
    <dgm:cxn modelId="{DB7123B3-364C-4650-9E0D-84A3CF44037C}" type="presParOf" srcId="{30584AB5-E716-4E91-A54A-57C953A9CC8B}" destId="{75C7D79D-E0D7-46C8-A21E-8E8A3EA363AC}" srcOrd="1" destOrd="0" presId="urn:microsoft.com/office/officeart/2008/layout/HorizontalMultiLevelHierarchy"/>
    <dgm:cxn modelId="{106C24CA-EC7C-460B-8DAF-6B44F2269A37}" type="presParOf" srcId="{75C7D79D-E0D7-46C8-A21E-8E8A3EA363AC}" destId="{A865B8FE-204B-458F-AD2A-174048ABFDAA}" srcOrd="0" destOrd="0" presId="urn:microsoft.com/office/officeart/2008/layout/HorizontalMultiLevelHierarchy"/>
    <dgm:cxn modelId="{D4DD7168-B526-4FCC-9BD0-3D1ED381B119}" type="presParOf" srcId="{75C7D79D-E0D7-46C8-A21E-8E8A3EA363AC}" destId="{417EFD4F-B9CC-4695-868C-B9AAB89A4CC1}" srcOrd="1" destOrd="0" presId="urn:microsoft.com/office/officeart/2008/layout/HorizontalMultiLevelHierarchy"/>
    <dgm:cxn modelId="{931A094E-5050-458D-A404-C2ECA8B0568D}" type="presParOf" srcId="{30584AB5-E716-4E91-A54A-57C953A9CC8B}" destId="{4D0365CF-6D31-4918-98F2-1E086D6CF83F}" srcOrd="2" destOrd="0" presId="urn:microsoft.com/office/officeart/2008/layout/HorizontalMultiLevelHierarchy"/>
    <dgm:cxn modelId="{1A32F10F-FAC1-41D0-902A-66777410EA7C}" type="presParOf" srcId="{4D0365CF-6D31-4918-98F2-1E086D6CF83F}" destId="{C0CAF0E7-DA92-4DEA-A1DC-D18220049E47}" srcOrd="0" destOrd="0" presId="urn:microsoft.com/office/officeart/2008/layout/HorizontalMultiLevelHierarchy"/>
    <dgm:cxn modelId="{83DE59B9-6431-467B-9AED-107BB4205501}" type="presParOf" srcId="{30584AB5-E716-4E91-A54A-57C953A9CC8B}" destId="{C7971305-EA1F-498B-84A5-95B674F00BDD}" srcOrd="3" destOrd="0" presId="urn:microsoft.com/office/officeart/2008/layout/HorizontalMultiLevelHierarchy"/>
    <dgm:cxn modelId="{86FAA42E-CF53-4FED-AB14-CA2BF9E6AA83}" type="presParOf" srcId="{C7971305-EA1F-498B-84A5-95B674F00BDD}" destId="{41688CBD-0D4D-494F-BC13-6D079E734E6E}" srcOrd="0" destOrd="0" presId="urn:microsoft.com/office/officeart/2008/layout/HorizontalMultiLevelHierarchy"/>
    <dgm:cxn modelId="{66535BB4-88BE-4145-A645-77AC855646C5}" type="presParOf" srcId="{C7971305-EA1F-498B-84A5-95B674F00BDD}" destId="{77B89E81-62DE-45F7-9C0D-5F40B40EC23A}" srcOrd="1" destOrd="0" presId="urn:microsoft.com/office/officeart/2008/layout/HorizontalMultiLevelHierarchy"/>
    <dgm:cxn modelId="{77790B1A-7FDB-42BB-A625-9817C50F30F5}" type="presParOf" srcId="{30584AB5-E716-4E91-A54A-57C953A9CC8B}" destId="{9935F8B4-2A29-48E0-BE3F-6C005296EF88}" srcOrd="4" destOrd="0" presId="urn:microsoft.com/office/officeart/2008/layout/HorizontalMultiLevelHierarchy"/>
    <dgm:cxn modelId="{7100112D-0994-4087-A6BC-81EE84AC0D0D}" type="presParOf" srcId="{9935F8B4-2A29-48E0-BE3F-6C005296EF88}" destId="{7BC9B2F8-CBD0-45C9-AB8B-8C3DACD17B80}" srcOrd="0" destOrd="0" presId="urn:microsoft.com/office/officeart/2008/layout/HorizontalMultiLevelHierarchy"/>
    <dgm:cxn modelId="{CF5103F1-C61A-4ADA-B70A-FF99AA84DA81}" type="presParOf" srcId="{30584AB5-E716-4E91-A54A-57C953A9CC8B}" destId="{7B9D7306-738C-4402-88DD-B0B5C3A30727}" srcOrd="5" destOrd="0" presId="urn:microsoft.com/office/officeart/2008/layout/HorizontalMultiLevelHierarchy"/>
    <dgm:cxn modelId="{EF977173-0407-4A88-95F9-2FBBCC0FCE13}" type="presParOf" srcId="{7B9D7306-738C-4402-88DD-B0B5C3A30727}" destId="{EE086444-574C-4D71-8BB2-09D0D33133C9}" srcOrd="0" destOrd="0" presId="urn:microsoft.com/office/officeart/2008/layout/HorizontalMultiLevelHierarchy"/>
    <dgm:cxn modelId="{C719C4FA-3CBE-4192-AB7F-EAA039DFA5FD}" type="presParOf" srcId="{7B9D7306-738C-4402-88DD-B0B5C3A30727}" destId="{D38AA576-BA88-4F1F-9285-FA9A1EF768F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architecture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/>
            <a:t>Database module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09BA98DE-DEC2-4D0D-8490-D3297BBF0088}">
      <dgm:prSet phldrT="[Text]"/>
      <dgm:spPr/>
      <dgm:t>
        <a:bodyPr/>
        <a:lstStyle/>
        <a:p>
          <a:r>
            <a:rPr lang="en-US" noProof="0"/>
            <a:t>WebAPI module</a:t>
          </a:r>
        </a:p>
      </dgm:t>
    </dgm:pt>
    <dgm:pt modelId="{8E89657A-9899-4663-8EBD-CE951A955DD5}" type="parTrans" cxnId="{B74A69C1-DB0A-4823-ABB8-FD9F97D1DF87}">
      <dgm:prSet/>
      <dgm:spPr/>
      <dgm:t>
        <a:bodyPr/>
        <a:lstStyle/>
        <a:p>
          <a:endParaRPr lang="en-US"/>
        </a:p>
      </dgm:t>
    </dgm:pt>
    <dgm:pt modelId="{D9604DA3-0B95-413D-AA9C-D75798C0FF52}" type="sibTrans" cxnId="{B74A69C1-DB0A-4823-ABB8-FD9F97D1DF87}">
      <dgm:prSet/>
      <dgm:spPr/>
      <dgm:t>
        <a:bodyPr/>
        <a:lstStyle/>
        <a:p>
          <a:endParaRPr lang="en-US"/>
        </a:p>
      </dgm:t>
    </dgm:pt>
    <dgm:pt modelId="{A7376EC0-5FEA-48A4-B284-B453C867CA4F}">
      <dgm:prSet phldrT="[Text]"/>
      <dgm:spPr/>
      <dgm:t>
        <a:bodyPr/>
        <a:lstStyle/>
        <a:p>
          <a:r>
            <a:rPr lang="en-US" noProof="0"/>
            <a:t>UI (Selenium) module</a:t>
          </a:r>
        </a:p>
      </dgm:t>
    </dgm:pt>
    <dgm:pt modelId="{D8387D70-E1F9-4B42-8EE4-B3BED889F64B}" type="parTrans" cxnId="{AC431E10-8495-40FC-AE68-1DE0241390B0}">
      <dgm:prSet/>
      <dgm:spPr/>
      <dgm:t>
        <a:bodyPr/>
        <a:lstStyle/>
        <a:p>
          <a:endParaRPr lang="en-US"/>
        </a:p>
      </dgm:t>
    </dgm:pt>
    <dgm:pt modelId="{620F1AE9-67A6-43E4-8D4E-A7556D36F8F8}" type="sibTrans" cxnId="{AC431E10-8495-40FC-AE68-1DE0241390B0}">
      <dgm:prSet/>
      <dgm:spPr/>
      <dgm:t>
        <a:bodyPr/>
        <a:lstStyle/>
        <a:p>
          <a:endParaRPr lang="en-US"/>
        </a:p>
      </dgm:t>
    </dgm:pt>
    <dgm:pt modelId="{2292288B-8B39-49F2-9CA8-9AFCD7CDA712}">
      <dgm:prSet phldrT="[Text]"/>
      <dgm:spPr/>
      <dgm:t>
        <a:bodyPr/>
        <a:lstStyle/>
        <a:p>
          <a:r>
            <a:rPr lang="en-US" noProof="0"/>
            <a:t>Selenium Grid</a:t>
          </a:r>
        </a:p>
      </dgm:t>
    </dgm:pt>
    <dgm:pt modelId="{01D0AB0F-E732-41F9-9D62-3B8C4434DC42}" type="parTrans" cxnId="{01735BA0-2B36-41EC-BFC0-0CCFA7ACD053}">
      <dgm:prSet/>
      <dgm:spPr/>
      <dgm:t>
        <a:bodyPr/>
        <a:lstStyle/>
        <a:p>
          <a:endParaRPr lang="en-US"/>
        </a:p>
      </dgm:t>
    </dgm:pt>
    <dgm:pt modelId="{572C2FA6-B61B-4B7E-9BE2-BE1757364927}" type="sibTrans" cxnId="{01735BA0-2B36-41EC-BFC0-0CCFA7ACD053}">
      <dgm:prSet/>
      <dgm:spPr/>
      <dgm:t>
        <a:bodyPr/>
        <a:lstStyle/>
        <a:p>
          <a:endParaRPr lang="en-US"/>
        </a:p>
      </dgm:t>
    </dgm:pt>
    <dgm:pt modelId="{589892E1-7E9A-4ED2-9A00-ECF59CD9E4E2}">
      <dgm:prSet phldrT="[Text]"/>
      <dgm:spPr/>
      <dgm:t>
        <a:bodyPr/>
        <a:lstStyle/>
        <a:p>
          <a:r>
            <a:rPr lang="en-US" noProof="0" dirty="0"/>
            <a:t>Mobile (</a:t>
          </a:r>
          <a:r>
            <a:rPr lang="en-US" noProof="0" dirty="0" err="1"/>
            <a:t>Appium</a:t>
          </a:r>
          <a:r>
            <a:rPr lang="en-US" noProof="0" dirty="0"/>
            <a:t>) app</a:t>
          </a:r>
          <a:r>
            <a:rPr lang="pl-PL" noProof="0" dirty="0"/>
            <a:t> *</a:t>
          </a:r>
          <a:endParaRPr lang="en-US" noProof="0" dirty="0"/>
        </a:p>
      </dgm:t>
    </dgm:pt>
    <dgm:pt modelId="{6298D63F-CF36-4C9A-B1AF-B6EC065B8542}" type="parTrans" cxnId="{D68E50A4-4DE3-4F5D-92C6-F68E47329EAA}">
      <dgm:prSet/>
      <dgm:spPr/>
      <dgm:t>
        <a:bodyPr/>
        <a:lstStyle/>
        <a:p>
          <a:endParaRPr lang="en-US"/>
        </a:p>
      </dgm:t>
    </dgm:pt>
    <dgm:pt modelId="{6E27F27E-66F1-4C1C-AB5B-DE1A342F5B80}" type="sibTrans" cxnId="{D68E50A4-4DE3-4F5D-92C6-F68E47329EAA}">
      <dgm:prSet/>
      <dgm:spPr/>
      <dgm:t>
        <a:bodyPr/>
        <a:lstStyle/>
        <a:p>
          <a:endParaRPr lang="en-US"/>
        </a:p>
      </dgm:t>
    </dgm:pt>
    <dgm:pt modelId="{6B9937D0-C50E-45C2-B4B1-863E69FCB5B1}">
      <dgm:prSet phldrT="[Text]"/>
      <dgm:spPr/>
      <dgm:t>
        <a:bodyPr/>
        <a:lstStyle/>
        <a:p>
          <a:r>
            <a:rPr lang="en-US" noProof="0" dirty="0"/>
            <a:t>Mobile </a:t>
          </a:r>
          <a:br>
            <a:rPr lang="pl-PL" noProof="0" dirty="0"/>
          </a:br>
          <a:r>
            <a:rPr lang="en-US" noProof="0" dirty="0"/>
            <a:t>Grid</a:t>
          </a:r>
          <a:r>
            <a:rPr lang="pl-PL" noProof="0" dirty="0"/>
            <a:t> *</a:t>
          </a:r>
          <a:endParaRPr lang="en-US" noProof="0" dirty="0"/>
        </a:p>
      </dgm:t>
    </dgm:pt>
    <dgm:pt modelId="{AEF92B5E-DA15-46F7-BACF-71FF8F3D14F0}" type="parTrans" cxnId="{8F0BC77A-97BE-4977-BDA7-D96570690F34}">
      <dgm:prSet/>
      <dgm:spPr/>
      <dgm:t>
        <a:bodyPr/>
        <a:lstStyle/>
        <a:p>
          <a:endParaRPr lang="en-US"/>
        </a:p>
      </dgm:t>
    </dgm:pt>
    <dgm:pt modelId="{981C6366-F035-4302-9D7B-6125B4FAB462}" type="sibTrans" cxnId="{8F0BC77A-97BE-4977-BDA7-D96570690F34}">
      <dgm:prSet/>
      <dgm:spPr/>
      <dgm:t>
        <a:bodyPr/>
        <a:lstStyle/>
        <a:p>
          <a:endParaRPr lang="en-US"/>
        </a:p>
      </dgm:t>
    </dgm:pt>
    <dgm:pt modelId="{16B3806B-317F-41B0-ABDF-7267C80EC3B2}">
      <dgm:prSet phldrT="[Text]"/>
      <dgm:spPr/>
      <dgm:t>
        <a:bodyPr/>
        <a:lstStyle/>
        <a:p>
          <a:r>
            <a:rPr lang="en-US" noProof="0" dirty="0"/>
            <a:t>Standalone APP</a:t>
          </a:r>
          <a:r>
            <a:rPr lang="pl-PL" noProof="0" dirty="0"/>
            <a:t> *</a:t>
          </a:r>
          <a:endParaRPr lang="en-US" noProof="0" dirty="0"/>
        </a:p>
      </dgm:t>
    </dgm:pt>
    <dgm:pt modelId="{97DC8A9B-CFD6-40D1-A1ED-398BABE06067}" type="parTrans" cxnId="{5A200011-DE1C-4E4A-8F4A-4D5AD08EE3A9}">
      <dgm:prSet/>
      <dgm:spPr/>
      <dgm:t>
        <a:bodyPr/>
        <a:lstStyle/>
        <a:p>
          <a:endParaRPr lang="en-US"/>
        </a:p>
      </dgm:t>
    </dgm:pt>
    <dgm:pt modelId="{C1409865-ED18-41BE-9B28-662D81AEEE4F}" type="sibTrans" cxnId="{5A200011-DE1C-4E4A-8F4A-4D5AD08EE3A9}">
      <dgm:prSet/>
      <dgm:spPr/>
      <dgm:t>
        <a:bodyPr/>
        <a:lstStyle/>
        <a:p>
          <a:endParaRPr lang="en-US"/>
        </a:p>
      </dgm:t>
    </dgm:pt>
    <dgm:pt modelId="{8E346F4D-76A2-462D-9B44-3650FB2B405C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/>
            <a:t>Security module</a:t>
          </a:r>
        </a:p>
      </dgm:t>
    </dgm:pt>
    <dgm:pt modelId="{3F230114-3CC0-45DF-9870-044520BC28C8}" type="parTrans" cxnId="{1D76C90C-838C-4330-B04F-05BE873D410F}">
      <dgm:prSet/>
      <dgm:spPr/>
      <dgm:t>
        <a:bodyPr/>
        <a:lstStyle/>
        <a:p>
          <a:endParaRPr lang="en-US"/>
        </a:p>
      </dgm:t>
    </dgm:pt>
    <dgm:pt modelId="{0F905974-FF65-435B-B2DD-FBC8F1A908F0}" type="sibTrans" cxnId="{1D76C90C-838C-4330-B04F-05BE873D410F}">
      <dgm:prSet/>
      <dgm:spPr/>
      <dgm:t>
        <a:bodyPr/>
        <a:lstStyle/>
        <a:p>
          <a:endParaRPr lang="en-US"/>
        </a:p>
      </dgm:t>
    </dgm:pt>
    <dgm:pt modelId="{6733E3A7-9EE4-4EFF-B65C-61E0B126E302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DevOps module</a:t>
          </a:r>
        </a:p>
      </dgm:t>
    </dgm:pt>
    <dgm:pt modelId="{3D98FF0D-B7EB-42FA-8A0C-F97A740C5CC2}" type="parTrans" cxnId="{C4B3FED4-3336-4139-911B-D057D16A48F5}">
      <dgm:prSet/>
      <dgm:spPr/>
      <dgm:t>
        <a:bodyPr/>
        <a:lstStyle/>
        <a:p>
          <a:endParaRPr lang="en-US"/>
        </a:p>
      </dgm:t>
    </dgm:pt>
    <dgm:pt modelId="{C64997DC-0FAE-46D2-807A-F0C151BFA135}" type="sibTrans" cxnId="{C4B3FED4-3336-4139-911B-D057D16A48F5}">
      <dgm:prSet/>
      <dgm:spPr/>
      <dgm:t>
        <a:bodyPr/>
        <a:lstStyle/>
        <a:p>
          <a:endParaRPr lang="en-US"/>
        </a:p>
      </dgm:t>
    </dgm:pt>
    <dgm:pt modelId="{9A65ADEB-F1B5-411F-B9AC-B64E8E60B070}">
      <dgm:prSet phldrT="[Text]"/>
      <dgm:spPr>
        <a:solidFill>
          <a:srgbClr val="0085B3"/>
        </a:solidFill>
        <a:ln w="28575">
          <a:solidFill>
            <a:schemeClr val="tx1"/>
          </a:solidFill>
        </a:ln>
      </dgm:spPr>
      <dgm:t>
        <a:bodyPr/>
        <a:lstStyle/>
        <a:p>
          <a:r>
            <a:rPr lang="en-US" noProof="0" dirty="0"/>
            <a:t>Test core module</a:t>
          </a:r>
        </a:p>
      </dgm:t>
    </dgm:pt>
    <dgm:pt modelId="{124EE3FC-3289-4868-83FD-BB361276B47E}" type="parTrans" cxnId="{6933AB0D-D526-4683-90E6-DBCAD5B13CA0}">
      <dgm:prSet/>
      <dgm:spPr/>
      <dgm:t>
        <a:bodyPr/>
        <a:lstStyle/>
        <a:p>
          <a:endParaRPr lang="en-US"/>
        </a:p>
      </dgm:t>
    </dgm:pt>
    <dgm:pt modelId="{80E8A97E-4D14-4268-B043-8933A19483DA}" type="sibTrans" cxnId="{6933AB0D-D526-4683-90E6-DBCAD5B13CA0}">
      <dgm:prSet/>
      <dgm:spPr/>
      <dgm:t>
        <a:bodyPr/>
        <a:lstStyle/>
        <a:p>
          <a:endParaRPr lang="en-US"/>
        </a:p>
      </dgm:t>
    </dgm:pt>
    <dgm:pt modelId="{2B2119DE-9C5F-42BD-90CA-B1F7EF735AF4}" type="pres">
      <dgm:prSet presAssocID="{B9C32B05-62EA-407A-B21C-2310C794570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B9E2D6A-8969-4EEC-85C2-615B86E0B196}" type="pres">
      <dgm:prSet presAssocID="{42D71409-67F9-455C-8C6D-716D284AAA6B}" presName="vertOne" presStyleCnt="0"/>
      <dgm:spPr/>
    </dgm:pt>
    <dgm:pt modelId="{034D588B-2C5E-413E-8FB3-A45A598FE77E}" type="pres">
      <dgm:prSet presAssocID="{42D71409-67F9-455C-8C6D-716D284AAA6B}" presName="txOne" presStyleLbl="node0" presStyleIdx="0" presStyleCnt="3">
        <dgm:presLayoutVars>
          <dgm:chPref val="3"/>
        </dgm:presLayoutVars>
      </dgm:prSet>
      <dgm:spPr/>
    </dgm:pt>
    <dgm:pt modelId="{155C8750-CD3F-4EED-8869-852B83F3E2B4}" type="pres">
      <dgm:prSet presAssocID="{42D71409-67F9-455C-8C6D-716D284AAA6B}" presName="parTransOne" presStyleCnt="0"/>
      <dgm:spPr/>
    </dgm:pt>
    <dgm:pt modelId="{782F8E29-E0AF-4190-B2CF-FA75DA3E0DD3}" type="pres">
      <dgm:prSet presAssocID="{42D71409-67F9-455C-8C6D-716D284AAA6B}" presName="horzOne" presStyleCnt="0"/>
      <dgm:spPr/>
    </dgm:pt>
    <dgm:pt modelId="{DA72A51A-2648-42DA-A6F5-1368068F74F5}" type="pres">
      <dgm:prSet presAssocID="{8E346F4D-76A2-462D-9B44-3650FB2B405C}" presName="vertTwo" presStyleCnt="0"/>
      <dgm:spPr/>
    </dgm:pt>
    <dgm:pt modelId="{CDB456C7-FEB2-4189-8DB4-859E0B913BE7}" type="pres">
      <dgm:prSet presAssocID="{8E346F4D-76A2-462D-9B44-3650FB2B405C}" presName="txTwo" presStyleLbl="node2" presStyleIdx="0" presStyleCnt="2" custScaleY="205355" custLinFactX="225310" custLinFactNeighborX="300000" custLinFactNeighborY="2804">
        <dgm:presLayoutVars>
          <dgm:chPref val="3"/>
        </dgm:presLayoutVars>
      </dgm:prSet>
      <dgm:spPr/>
    </dgm:pt>
    <dgm:pt modelId="{665A94F3-AC2E-440A-90D8-6366FA2C472B}" type="pres">
      <dgm:prSet presAssocID="{8E346F4D-76A2-462D-9B44-3650FB2B405C}" presName="horzTwo" presStyleCnt="0"/>
      <dgm:spPr/>
    </dgm:pt>
    <dgm:pt modelId="{E8E6822D-8E60-479F-9744-0822855A4470}" type="pres">
      <dgm:prSet presAssocID="{0F905974-FF65-435B-B2DD-FBC8F1A908F0}" presName="sibSpaceTwo" presStyleCnt="0"/>
      <dgm:spPr/>
    </dgm:pt>
    <dgm:pt modelId="{1DEC18CE-0974-4E7A-AE22-5B53857D08A5}" type="pres">
      <dgm:prSet presAssocID="{09BA98DE-DEC2-4D0D-8490-D3297BBF0088}" presName="vertTwo" presStyleCnt="0"/>
      <dgm:spPr/>
    </dgm:pt>
    <dgm:pt modelId="{79946D67-CF20-4533-873C-9747C402A031}" type="pres">
      <dgm:prSet presAssocID="{09BA98DE-DEC2-4D0D-8490-D3297BBF0088}" presName="txTwo" presStyleLbl="node2" presStyleIdx="1" presStyleCnt="2" custLinFactNeighborX="-21053" custLinFactNeighborY="48072">
        <dgm:presLayoutVars>
          <dgm:chPref val="3"/>
        </dgm:presLayoutVars>
      </dgm:prSet>
      <dgm:spPr/>
    </dgm:pt>
    <dgm:pt modelId="{11A9DFF6-0FBF-42E2-AC9E-E9078967B9F6}" type="pres">
      <dgm:prSet presAssocID="{09BA98DE-DEC2-4D0D-8490-D3297BBF0088}" presName="parTransTwo" presStyleCnt="0"/>
      <dgm:spPr/>
    </dgm:pt>
    <dgm:pt modelId="{B536D2A5-09A8-40A9-B9B2-95A40A490E97}" type="pres">
      <dgm:prSet presAssocID="{09BA98DE-DEC2-4D0D-8490-D3297BBF0088}" presName="horzTwo" presStyleCnt="0"/>
      <dgm:spPr/>
    </dgm:pt>
    <dgm:pt modelId="{CC689BD4-6667-4A02-BE0B-05FBA1E9DFEE}" type="pres">
      <dgm:prSet presAssocID="{A7376EC0-5FEA-48A4-B284-B453C867CA4F}" presName="vertThree" presStyleCnt="0"/>
      <dgm:spPr/>
    </dgm:pt>
    <dgm:pt modelId="{7951CDCD-4F97-4CCA-8C56-4992B72B07BB}" type="pres">
      <dgm:prSet presAssocID="{A7376EC0-5FEA-48A4-B284-B453C867CA4F}" presName="txThree" presStyleLbl="node3" presStyleIdx="0" presStyleCnt="5" custLinFactX="-9429" custLinFactNeighborX="-100000" custLinFactNeighborY="8130">
        <dgm:presLayoutVars>
          <dgm:chPref val="3"/>
        </dgm:presLayoutVars>
      </dgm:prSet>
      <dgm:spPr/>
    </dgm:pt>
    <dgm:pt modelId="{5AA5A2CD-9B6E-4706-AD2B-726846A26241}" type="pres">
      <dgm:prSet presAssocID="{A7376EC0-5FEA-48A4-B284-B453C867CA4F}" presName="horzThree" presStyleCnt="0"/>
      <dgm:spPr/>
    </dgm:pt>
    <dgm:pt modelId="{3774BBD5-FDE4-40E1-B05B-37017133E0FA}" type="pres">
      <dgm:prSet presAssocID="{620F1AE9-67A6-43E4-8D4E-A7556D36F8F8}" presName="sibSpaceThree" presStyleCnt="0"/>
      <dgm:spPr/>
    </dgm:pt>
    <dgm:pt modelId="{41559B25-8C6A-464D-BF22-BE3C9F736111}" type="pres">
      <dgm:prSet presAssocID="{2292288B-8B39-49F2-9CA8-9AFCD7CDA712}" presName="vertThree" presStyleCnt="0"/>
      <dgm:spPr/>
    </dgm:pt>
    <dgm:pt modelId="{16415C91-F210-4416-A0F4-1AA0347D5471}" type="pres">
      <dgm:prSet presAssocID="{2292288B-8B39-49F2-9CA8-9AFCD7CDA712}" presName="txThree" presStyleLbl="node3" presStyleIdx="1" presStyleCnt="5" custLinFactX="-9460" custLinFactNeighborX="-100000" custLinFactNeighborY="8130">
        <dgm:presLayoutVars>
          <dgm:chPref val="3"/>
        </dgm:presLayoutVars>
      </dgm:prSet>
      <dgm:spPr/>
    </dgm:pt>
    <dgm:pt modelId="{2A95AAC2-1202-4AC2-BACF-0DA698DF7F4C}" type="pres">
      <dgm:prSet presAssocID="{2292288B-8B39-49F2-9CA8-9AFCD7CDA712}" presName="horzThree" presStyleCnt="0"/>
      <dgm:spPr/>
    </dgm:pt>
    <dgm:pt modelId="{8FF487CA-1EFE-4D30-AE1A-DA6180CF2B9F}" type="pres">
      <dgm:prSet presAssocID="{572C2FA6-B61B-4B7E-9BE2-BE1757364927}" presName="sibSpaceThree" presStyleCnt="0"/>
      <dgm:spPr/>
    </dgm:pt>
    <dgm:pt modelId="{6F748793-9F52-45C0-BB7D-F70EE9ADCD11}" type="pres">
      <dgm:prSet presAssocID="{589892E1-7E9A-4ED2-9A00-ECF59CD9E4E2}" presName="vertThree" presStyleCnt="0"/>
      <dgm:spPr/>
    </dgm:pt>
    <dgm:pt modelId="{D8A6C93A-917D-4567-B16D-E30EEE8A93BD}" type="pres">
      <dgm:prSet presAssocID="{589892E1-7E9A-4ED2-9A00-ECF59CD9E4E2}" presName="txThree" presStyleLbl="node3" presStyleIdx="2" presStyleCnt="5" custLinFactX="-9460" custLinFactNeighborX="-100000" custLinFactNeighborY="8130">
        <dgm:presLayoutVars>
          <dgm:chPref val="3"/>
        </dgm:presLayoutVars>
      </dgm:prSet>
      <dgm:spPr/>
    </dgm:pt>
    <dgm:pt modelId="{EF0B39D7-3444-41FC-AA5E-204BA04CE20B}" type="pres">
      <dgm:prSet presAssocID="{589892E1-7E9A-4ED2-9A00-ECF59CD9E4E2}" presName="horzThree" presStyleCnt="0"/>
      <dgm:spPr/>
    </dgm:pt>
    <dgm:pt modelId="{0C74B5B8-1BB4-4CC1-B901-4409ED4551A1}" type="pres">
      <dgm:prSet presAssocID="{6E27F27E-66F1-4C1C-AB5B-DE1A342F5B80}" presName="sibSpaceThree" presStyleCnt="0"/>
      <dgm:spPr/>
    </dgm:pt>
    <dgm:pt modelId="{04CFD224-47B9-4740-85C5-27869E975EBD}" type="pres">
      <dgm:prSet presAssocID="{6B9937D0-C50E-45C2-B4B1-863E69FCB5B1}" presName="vertThree" presStyleCnt="0"/>
      <dgm:spPr/>
    </dgm:pt>
    <dgm:pt modelId="{10845D90-6534-40EB-8279-CF7912BF2E6A}" type="pres">
      <dgm:prSet presAssocID="{6B9937D0-C50E-45C2-B4B1-863E69FCB5B1}" presName="txThree" presStyleLbl="node3" presStyleIdx="3" presStyleCnt="5" custLinFactX="-9460" custLinFactNeighborX="-100000" custLinFactNeighborY="8130">
        <dgm:presLayoutVars>
          <dgm:chPref val="3"/>
        </dgm:presLayoutVars>
      </dgm:prSet>
      <dgm:spPr/>
    </dgm:pt>
    <dgm:pt modelId="{54AA577C-9EA8-4070-9234-7DE01FE1F281}" type="pres">
      <dgm:prSet presAssocID="{6B9937D0-C50E-45C2-B4B1-863E69FCB5B1}" presName="horzThree" presStyleCnt="0"/>
      <dgm:spPr/>
    </dgm:pt>
    <dgm:pt modelId="{439A1615-4820-49EA-B3CF-83905D4EF337}" type="pres">
      <dgm:prSet presAssocID="{981C6366-F035-4302-9D7B-6125B4FAB462}" presName="sibSpaceThree" presStyleCnt="0"/>
      <dgm:spPr/>
    </dgm:pt>
    <dgm:pt modelId="{46B34DDF-9C3B-405B-9CAC-1D39BDBC2EEE}" type="pres">
      <dgm:prSet presAssocID="{16B3806B-317F-41B0-ABDF-7267C80EC3B2}" presName="vertThree" presStyleCnt="0"/>
      <dgm:spPr/>
    </dgm:pt>
    <dgm:pt modelId="{9A46057F-5CDA-4B57-BF6D-897D216AF86F}" type="pres">
      <dgm:prSet presAssocID="{16B3806B-317F-41B0-ABDF-7267C80EC3B2}" presName="txThree" presStyleLbl="node3" presStyleIdx="4" presStyleCnt="5" custLinFactX="-9460" custLinFactNeighborX="-100000" custLinFactNeighborY="8130">
        <dgm:presLayoutVars>
          <dgm:chPref val="3"/>
        </dgm:presLayoutVars>
      </dgm:prSet>
      <dgm:spPr/>
    </dgm:pt>
    <dgm:pt modelId="{DBC56214-4432-4434-8518-707CDC63F5BF}" type="pres">
      <dgm:prSet presAssocID="{16B3806B-317F-41B0-ABDF-7267C80EC3B2}" presName="horzThree" presStyleCnt="0"/>
      <dgm:spPr/>
    </dgm:pt>
    <dgm:pt modelId="{38DD3712-FE5D-4944-89FA-AD709564BD3A}" type="pres">
      <dgm:prSet presAssocID="{478B7D3C-9FB4-4BC6-90AC-49960560DECD}" presName="sibSpaceOne" presStyleCnt="0"/>
      <dgm:spPr/>
    </dgm:pt>
    <dgm:pt modelId="{1C4B8FF2-A5B4-46BA-942A-8A19BEE69F70}" type="pres">
      <dgm:prSet presAssocID="{6733E3A7-9EE4-4EFF-B65C-61E0B126E302}" presName="vertOne" presStyleCnt="0"/>
      <dgm:spPr/>
    </dgm:pt>
    <dgm:pt modelId="{1F321622-6935-42D4-AE83-D556256DD586}" type="pres">
      <dgm:prSet presAssocID="{6733E3A7-9EE4-4EFF-B65C-61E0B126E302}" presName="txOne" presStyleLbl="node0" presStyleIdx="1" presStyleCnt="3" custScaleY="309236" custLinFactNeighborX="-7251">
        <dgm:presLayoutVars>
          <dgm:chPref val="3"/>
        </dgm:presLayoutVars>
      </dgm:prSet>
      <dgm:spPr/>
    </dgm:pt>
    <dgm:pt modelId="{824137B6-FDCD-4837-BBD2-6FDD09327885}" type="pres">
      <dgm:prSet presAssocID="{6733E3A7-9EE4-4EFF-B65C-61E0B126E302}" presName="horzOne" presStyleCnt="0"/>
      <dgm:spPr/>
    </dgm:pt>
    <dgm:pt modelId="{ECE19E2B-8C42-4059-9124-AF3EDDEFF355}" type="pres">
      <dgm:prSet presAssocID="{C64997DC-0FAE-46D2-807A-F0C151BFA135}" presName="sibSpaceOne" presStyleCnt="0"/>
      <dgm:spPr/>
    </dgm:pt>
    <dgm:pt modelId="{915571E0-40F3-4E75-A71C-E935FB4D94B6}" type="pres">
      <dgm:prSet presAssocID="{9A65ADEB-F1B5-411F-B9AC-B64E8E60B070}" presName="vertOne" presStyleCnt="0"/>
      <dgm:spPr/>
    </dgm:pt>
    <dgm:pt modelId="{AF9421C1-0977-4165-AE01-1E0941FF1DC2}" type="pres">
      <dgm:prSet presAssocID="{9A65ADEB-F1B5-411F-B9AC-B64E8E60B070}" presName="txOne" presStyleLbl="node0" presStyleIdx="2" presStyleCnt="3" custScaleY="309153" custLinFactNeighborX="-13910" custLinFactNeighborY="-96">
        <dgm:presLayoutVars>
          <dgm:chPref val="3"/>
        </dgm:presLayoutVars>
      </dgm:prSet>
      <dgm:spPr/>
    </dgm:pt>
    <dgm:pt modelId="{870B6F6E-AE96-4262-9B4A-86C432C82D5E}" type="pres">
      <dgm:prSet presAssocID="{9A65ADEB-F1B5-411F-B9AC-B64E8E60B070}" presName="horzOne" presStyleCnt="0"/>
      <dgm:spPr/>
    </dgm:pt>
  </dgm:ptLst>
  <dgm:cxnLst>
    <dgm:cxn modelId="{1D76C90C-838C-4330-B04F-05BE873D410F}" srcId="{42D71409-67F9-455C-8C6D-716D284AAA6B}" destId="{8E346F4D-76A2-462D-9B44-3650FB2B405C}" srcOrd="0" destOrd="0" parTransId="{3F230114-3CC0-45DF-9870-044520BC28C8}" sibTransId="{0F905974-FF65-435B-B2DD-FBC8F1A908F0}"/>
    <dgm:cxn modelId="{6933AB0D-D526-4683-90E6-DBCAD5B13CA0}" srcId="{B9C32B05-62EA-407A-B21C-2310C7945705}" destId="{9A65ADEB-F1B5-411F-B9AC-B64E8E60B070}" srcOrd="2" destOrd="0" parTransId="{124EE3FC-3289-4868-83FD-BB361276B47E}" sibTransId="{80E8A97E-4D14-4268-B043-8933A19483DA}"/>
    <dgm:cxn modelId="{AC431E10-8495-40FC-AE68-1DE0241390B0}" srcId="{09BA98DE-DEC2-4D0D-8490-D3297BBF0088}" destId="{A7376EC0-5FEA-48A4-B284-B453C867CA4F}" srcOrd="0" destOrd="0" parTransId="{D8387D70-E1F9-4B42-8EE4-B3BED889F64B}" sibTransId="{620F1AE9-67A6-43E4-8D4E-A7556D36F8F8}"/>
    <dgm:cxn modelId="{5A200011-DE1C-4E4A-8F4A-4D5AD08EE3A9}" srcId="{09BA98DE-DEC2-4D0D-8490-D3297BBF0088}" destId="{16B3806B-317F-41B0-ABDF-7267C80EC3B2}" srcOrd="4" destOrd="0" parTransId="{97DC8A9B-CFD6-40D1-A1ED-398BABE06067}" sibTransId="{C1409865-ED18-41BE-9B28-662D81AEEE4F}"/>
    <dgm:cxn modelId="{9485E016-24FF-4C5B-A604-8D2C35894629}" type="presOf" srcId="{6733E3A7-9EE4-4EFF-B65C-61E0B126E302}" destId="{1F321622-6935-42D4-AE83-D556256DD586}" srcOrd="0" destOrd="0" presId="urn:microsoft.com/office/officeart/2005/8/layout/architecture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4DF5D2A-6A4D-4162-9537-4E5EFE935020}" type="presOf" srcId="{8E346F4D-76A2-462D-9B44-3650FB2B405C}" destId="{CDB456C7-FEB2-4189-8DB4-859E0B913BE7}" srcOrd="0" destOrd="0" presId="urn:microsoft.com/office/officeart/2005/8/layout/architecture"/>
    <dgm:cxn modelId="{A979BC3C-2723-4156-B3DB-C01E9A5B2FD4}" type="presOf" srcId="{42D71409-67F9-455C-8C6D-716D284AAA6B}" destId="{034D588B-2C5E-413E-8FB3-A45A598FE77E}" srcOrd="0" destOrd="0" presId="urn:microsoft.com/office/officeart/2005/8/layout/architecture"/>
    <dgm:cxn modelId="{BE1FAE48-E7FA-4B5F-B8A0-AB0218E01AAA}" type="presOf" srcId="{09BA98DE-DEC2-4D0D-8490-D3297BBF0088}" destId="{79946D67-CF20-4533-873C-9747C402A031}" srcOrd="0" destOrd="0" presId="urn:microsoft.com/office/officeart/2005/8/layout/architecture"/>
    <dgm:cxn modelId="{D3531A79-F502-4DE6-B84D-ADA7B780EF91}" type="presOf" srcId="{6B9937D0-C50E-45C2-B4B1-863E69FCB5B1}" destId="{10845D90-6534-40EB-8279-CF7912BF2E6A}" srcOrd="0" destOrd="0" presId="urn:microsoft.com/office/officeart/2005/8/layout/architecture"/>
    <dgm:cxn modelId="{8F0BC77A-97BE-4977-BDA7-D96570690F34}" srcId="{09BA98DE-DEC2-4D0D-8490-D3297BBF0088}" destId="{6B9937D0-C50E-45C2-B4B1-863E69FCB5B1}" srcOrd="3" destOrd="0" parTransId="{AEF92B5E-DA15-46F7-BACF-71FF8F3D14F0}" sibTransId="{981C6366-F035-4302-9D7B-6125B4FAB462}"/>
    <dgm:cxn modelId="{838E4390-9F55-49D4-9507-F4A284234087}" type="presOf" srcId="{9A65ADEB-F1B5-411F-B9AC-B64E8E60B070}" destId="{AF9421C1-0977-4165-AE01-1E0941FF1DC2}" srcOrd="0" destOrd="0" presId="urn:microsoft.com/office/officeart/2005/8/layout/architecture"/>
    <dgm:cxn modelId="{01735BA0-2B36-41EC-BFC0-0CCFA7ACD053}" srcId="{09BA98DE-DEC2-4D0D-8490-D3297BBF0088}" destId="{2292288B-8B39-49F2-9CA8-9AFCD7CDA712}" srcOrd="1" destOrd="0" parTransId="{01D0AB0F-E732-41F9-9D62-3B8C4434DC42}" sibTransId="{572C2FA6-B61B-4B7E-9BE2-BE1757364927}"/>
    <dgm:cxn modelId="{D68E50A4-4DE3-4F5D-92C6-F68E47329EAA}" srcId="{09BA98DE-DEC2-4D0D-8490-D3297BBF0088}" destId="{589892E1-7E9A-4ED2-9A00-ECF59CD9E4E2}" srcOrd="2" destOrd="0" parTransId="{6298D63F-CF36-4C9A-B1AF-B6EC065B8542}" sibTransId="{6E27F27E-66F1-4C1C-AB5B-DE1A342F5B80}"/>
    <dgm:cxn modelId="{0D291AB4-BEB5-4618-B81D-7B95651B289E}" type="presOf" srcId="{16B3806B-317F-41B0-ABDF-7267C80EC3B2}" destId="{9A46057F-5CDA-4B57-BF6D-897D216AF86F}" srcOrd="0" destOrd="0" presId="urn:microsoft.com/office/officeart/2005/8/layout/architecture"/>
    <dgm:cxn modelId="{29AD19C1-E3CA-4CBB-B7D5-1464D9D29FFC}" type="presOf" srcId="{B9C32B05-62EA-407A-B21C-2310C7945705}" destId="{2B2119DE-9C5F-42BD-90CA-B1F7EF735AF4}" srcOrd="0" destOrd="0" presId="urn:microsoft.com/office/officeart/2005/8/layout/architecture"/>
    <dgm:cxn modelId="{B74A69C1-DB0A-4823-ABB8-FD9F97D1DF87}" srcId="{42D71409-67F9-455C-8C6D-716D284AAA6B}" destId="{09BA98DE-DEC2-4D0D-8490-D3297BBF0088}" srcOrd="1" destOrd="0" parTransId="{8E89657A-9899-4663-8EBD-CE951A955DD5}" sibTransId="{D9604DA3-0B95-413D-AA9C-D75798C0FF52}"/>
    <dgm:cxn modelId="{C4B3FED4-3336-4139-911B-D057D16A48F5}" srcId="{B9C32B05-62EA-407A-B21C-2310C7945705}" destId="{6733E3A7-9EE4-4EFF-B65C-61E0B126E302}" srcOrd="1" destOrd="0" parTransId="{3D98FF0D-B7EB-42FA-8A0C-F97A740C5CC2}" sibTransId="{C64997DC-0FAE-46D2-807A-F0C151BFA135}"/>
    <dgm:cxn modelId="{13147EDA-6AAB-4BDB-84A1-5EBE5C2F9AC0}" type="presOf" srcId="{A7376EC0-5FEA-48A4-B284-B453C867CA4F}" destId="{7951CDCD-4F97-4CCA-8C56-4992B72B07BB}" srcOrd="0" destOrd="0" presId="urn:microsoft.com/office/officeart/2005/8/layout/architecture"/>
    <dgm:cxn modelId="{CDE785E0-C465-484D-9E57-92F491C024BB}" type="presOf" srcId="{589892E1-7E9A-4ED2-9A00-ECF59CD9E4E2}" destId="{D8A6C93A-917D-4567-B16D-E30EEE8A93BD}" srcOrd="0" destOrd="0" presId="urn:microsoft.com/office/officeart/2005/8/layout/architecture"/>
    <dgm:cxn modelId="{E9122CFC-2E55-4948-9216-106805F06521}" type="presOf" srcId="{2292288B-8B39-49F2-9CA8-9AFCD7CDA712}" destId="{16415C91-F210-4416-A0F4-1AA0347D5471}" srcOrd="0" destOrd="0" presId="urn:microsoft.com/office/officeart/2005/8/layout/architecture"/>
    <dgm:cxn modelId="{39EA7F95-4D46-4958-AC66-FB5E4923064E}" type="presParOf" srcId="{2B2119DE-9C5F-42BD-90CA-B1F7EF735AF4}" destId="{7B9E2D6A-8969-4EEC-85C2-615B86E0B196}" srcOrd="0" destOrd="0" presId="urn:microsoft.com/office/officeart/2005/8/layout/architecture"/>
    <dgm:cxn modelId="{55849938-37BC-425A-9F52-D3C2D550C45C}" type="presParOf" srcId="{7B9E2D6A-8969-4EEC-85C2-615B86E0B196}" destId="{034D588B-2C5E-413E-8FB3-A45A598FE77E}" srcOrd="0" destOrd="0" presId="urn:microsoft.com/office/officeart/2005/8/layout/architecture"/>
    <dgm:cxn modelId="{78954A11-5968-418D-8359-8E2137AE71C9}" type="presParOf" srcId="{7B9E2D6A-8969-4EEC-85C2-615B86E0B196}" destId="{155C8750-CD3F-4EED-8869-852B83F3E2B4}" srcOrd="1" destOrd="0" presId="urn:microsoft.com/office/officeart/2005/8/layout/architecture"/>
    <dgm:cxn modelId="{1D889143-CBFE-457D-B257-4536B47700D6}" type="presParOf" srcId="{7B9E2D6A-8969-4EEC-85C2-615B86E0B196}" destId="{782F8E29-E0AF-4190-B2CF-FA75DA3E0DD3}" srcOrd="2" destOrd="0" presId="urn:microsoft.com/office/officeart/2005/8/layout/architecture"/>
    <dgm:cxn modelId="{A64ABA92-BFD4-464D-A813-719DA8E4D353}" type="presParOf" srcId="{782F8E29-E0AF-4190-B2CF-FA75DA3E0DD3}" destId="{DA72A51A-2648-42DA-A6F5-1368068F74F5}" srcOrd="0" destOrd="0" presId="urn:microsoft.com/office/officeart/2005/8/layout/architecture"/>
    <dgm:cxn modelId="{AE9B9108-75CD-4962-AAB5-0150EABB791A}" type="presParOf" srcId="{DA72A51A-2648-42DA-A6F5-1368068F74F5}" destId="{CDB456C7-FEB2-4189-8DB4-859E0B913BE7}" srcOrd="0" destOrd="0" presId="urn:microsoft.com/office/officeart/2005/8/layout/architecture"/>
    <dgm:cxn modelId="{CCF17E4B-C4B8-45FC-B226-A3056C897CDB}" type="presParOf" srcId="{DA72A51A-2648-42DA-A6F5-1368068F74F5}" destId="{665A94F3-AC2E-440A-90D8-6366FA2C472B}" srcOrd="1" destOrd="0" presId="urn:microsoft.com/office/officeart/2005/8/layout/architecture"/>
    <dgm:cxn modelId="{5D750304-BC3F-4CFB-84BA-E8DEEA9CB757}" type="presParOf" srcId="{782F8E29-E0AF-4190-B2CF-FA75DA3E0DD3}" destId="{E8E6822D-8E60-479F-9744-0822855A4470}" srcOrd="1" destOrd="0" presId="urn:microsoft.com/office/officeart/2005/8/layout/architecture"/>
    <dgm:cxn modelId="{64731336-DFF0-4527-A608-DA86DC8E03B9}" type="presParOf" srcId="{782F8E29-E0AF-4190-B2CF-FA75DA3E0DD3}" destId="{1DEC18CE-0974-4E7A-AE22-5B53857D08A5}" srcOrd="2" destOrd="0" presId="urn:microsoft.com/office/officeart/2005/8/layout/architecture"/>
    <dgm:cxn modelId="{C13FB284-2F9D-4AAA-82A1-BF020F9FA761}" type="presParOf" srcId="{1DEC18CE-0974-4E7A-AE22-5B53857D08A5}" destId="{79946D67-CF20-4533-873C-9747C402A031}" srcOrd="0" destOrd="0" presId="urn:microsoft.com/office/officeart/2005/8/layout/architecture"/>
    <dgm:cxn modelId="{CC01CDF7-CDD5-4DCB-ACA0-A29F780A5428}" type="presParOf" srcId="{1DEC18CE-0974-4E7A-AE22-5B53857D08A5}" destId="{11A9DFF6-0FBF-42E2-AC9E-E9078967B9F6}" srcOrd="1" destOrd="0" presId="urn:microsoft.com/office/officeart/2005/8/layout/architecture"/>
    <dgm:cxn modelId="{D05EC6C4-F0F6-48F5-8BE8-4B6FA953FBF9}" type="presParOf" srcId="{1DEC18CE-0974-4E7A-AE22-5B53857D08A5}" destId="{B536D2A5-09A8-40A9-B9B2-95A40A490E97}" srcOrd="2" destOrd="0" presId="urn:microsoft.com/office/officeart/2005/8/layout/architecture"/>
    <dgm:cxn modelId="{5F7F3AF0-0535-400B-8519-166D66F8E2B9}" type="presParOf" srcId="{B536D2A5-09A8-40A9-B9B2-95A40A490E97}" destId="{CC689BD4-6667-4A02-BE0B-05FBA1E9DFEE}" srcOrd="0" destOrd="0" presId="urn:microsoft.com/office/officeart/2005/8/layout/architecture"/>
    <dgm:cxn modelId="{91D6E38E-B3D7-458E-8D8A-5A0AD2B8F466}" type="presParOf" srcId="{CC689BD4-6667-4A02-BE0B-05FBA1E9DFEE}" destId="{7951CDCD-4F97-4CCA-8C56-4992B72B07BB}" srcOrd="0" destOrd="0" presId="urn:microsoft.com/office/officeart/2005/8/layout/architecture"/>
    <dgm:cxn modelId="{DA797278-E2B1-4C69-80C8-1EDBFA09ADF9}" type="presParOf" srcId="{CC689BD4-6667-4A02-BE0B-05FBA1E9DFEE}" destId="{5AA5A2CD-9B6E-4706-AD2B-726846A26241}" srcOrd="1" destOrd="0" presId="urn:microsoft.com/office/officeart/2005/8/layout/architecture"/>
    <dgm:cxn modelId="{EEEA0B91-D02D-42B9-83B2-F869C774B485}" type="presParOf" srcId="{B536D2A5-09A8-40A9-B9B2-95A40A490E97}" destId="{3774BBD5-FDE4-40E1-B05B-37017133E0FA}" srcOrd="1" destOrd="0" presId="urn:microsoft.com/office/officeart/2005/8/layout/architecture"/>
    <dgm:cxn modelId="{92B2A7FE-154A-42F2-938E-01F853842220}" type="presParOf" srcId="{B536D2A5-09A8-40A9-B9B2-95A40A490E97}" destId="{41559B25-8C6A-464D-BF22-BE3C9F736111}" srcOrd="2" destOrd="0" presId="urn:microsoft.com/office/officeart/2005/8/layout/architecture"/>
    <dgm:cxn modelId="{B42CC3AE-7780-40DD-B598-8F6990D86C95}" type="presParOf" srcId="{41559B25-8C6A-464D-BF22-BE3C9F736111}" destId="{16415C91-F210-4416-A0F4-1AA0347D5471}" srcOrd="0" destOrd="0" presId="urn:microsoft.com/office/officeart/2005/8/layout/architecture"/>
    <dgm:cxn modelId="{7364F703-18B4-4A0E-A14A-401B942420E7}" type="presParOf" srcId="{41559B25-8C6A-464D-BF22-BE3C9F736111}" destId="{2A95AAC2-1202-4AC2-BACF-0DA698DF7F4C}" srcOrd="1" destOrd="0" presId="urn:microsoft.com/office/officeart/2005/8/layout/architecture"/>
    <dgm:cxn modelId="{15159FF2-9BA1-43D6-AD31-8B5C8B9E10B9}" type="presParOf" srcId="{B536D2A5-09A8-40A9-B9B2-95A40A490E97}" destId="{8FF487CA-1EFE-4D30-AE1A-DA6180CF2B9F}" srcOrd="3" destOrd="0" presId="urn:microsoft.com/office/officeart/2005/8/layout/architecture"/>
    <dgm:cxn modelId="{C90D1555-79A3-441D-881D-AF6F09919C64}" type="presParOf" srcId="{B536D2A5-09A8-40A9-B9B2-95A40A490E97}" destId="{6F748793-9F52-45C0-BB7D-F70EE9ADCD11}" srcOrd="4" destOrd="0" presId="urn:microsoft.com/office/officeart/2005/8/layout/architecture"/>
    <dgm:cxn modelId="{EA412814-F0F3-4DD2-8FDB-70F4138BC3F5}" type="presParOf" srcId="{6F748793-9F52-45C0-BB7D-F70EE9ADCD11}" destId="{D8A6C93A-917D-4567-B16D-E30EEE8A93BD}" srcOrd="0" destOrd="0" presId="urn:microsoft.com/office/officeart/2005/8/layout/architecture"/>
    <dgm:cxn modelId="{19695E5B-85F2-44C5-9399-2F1C39E3706A}" type="presParOf" srcId="{6F748793-9F52-45C0-BB7D-F70EE9ADCD11}" destId="{EF0B39D7-3444-41FC-AA5E-204BA04CE20B}" srcOrd="1" destOrd="0" presId="urn:microsoft.com/office/officeart/2005/8/layout/architecture"/>
    <dgm:cxn modelId="{4BD63E64-D669-48C9-B21C-31652BE02F5E}" type="presParOf" srcId="{B536D2A5-09A8-40A9-B9B2-95A40A490E97}" destId="{0C74B5B8-1BB4-4CC1-B901-4409ED4551A1}" srcOrd="5" destOrd="0" presId="urn:microsoft.com/office/officeart/2005/8/layout/architecture"/>
    <dgm:cxn modelId="{94B5DC0C-011E-46D5-A6BC-24B36154307C}" type="presParOf" srcId="{B536D2A5-09A8-40A9-B9B2-95A40A490E97}" destId="{04CFD224-47B9-4740-85C5-27869E975EBD}" srcOrd="6" destOrd="0" presId="urn:microsoft.com/office/officeart/2005/8/layout/architecture"/>
    <dgm:cxn modelId="{87D3EE63-EBD5-4BD4-B5E4-E8664690A2BA}" type="presParOf" srcId="{04CFD224-47B9-4740-85C5-27869E975EBD}" destId="{10845D90-6534-40EB-8279-CF7912BF2E6A}" srcOrd="0" destOrd="0" presId="urn:microsoft.com/office/officeart/2005/8/layout/architecture"/>
    <dgm:cxn modelId="{C8B58524-33B3-44F8-8BC8-1FD497DB9BCB}" type="presParOf" srcId="{04CFD224-47B9-4740-85C5-27869E975EBD}" destId="{54AA577C-9EA8-4070-9234-7DE01FE1F281}" srcOrd="1" destOrd="0" presId="urn:microsoft.com/office/officeart/2005/8/layout/architecture"/>
    <dgm:cxn modelId="{1378A4C0-FAD3-47A4-8B84-A44C84F32B0D}" type="presParOf" srcId="{B536D2A5-09A8-40A9-B9B2-95A40A490E97}" destId="{439A1615-4820-49EA-B3CF-83905D4EF337}" srcOrd="7" destOrd="0" presId="urn:microsoft.com/office/officeart/2005/8/layout/architecture"/>
    <dgm:cxn modelId="{2B77D262-955C-43A0-BE54-547A297807CC}" type="presParOf" srcId="{B536D2A5-09A8-40A9-B9B2-95A40A490E97}" destId="{46B34DDF-9C3B-405B-9CAC-1D39BDBC2EEE}" srcOrd="8" destOrd="0" presId="urn:microsoft.com/office/officeart/2005/8/layout/architecture"/>
    <dgm:cxn modelId="{3E1D2094-3E51-425A-B206-0AB1AE1050C2}" type="presParOf" srcId="{46B34DDF-9C3B-405B-9CAC-1D39BDBC2EEE}" destId="{9A46057F-5CDA-4B57-BF6D-897D216AF86F}" srcOrd="0" destOrd="0" presId="urn:microsoft.com/office/officeart/2005/8/layout/architecture"/>
    <dgm:cxn modelId="{2AC9AE11-F5A3-47A3-99FB-46E4F009958B}" type="presParOf" srcId="{46B34DDF-9C3B-405B-9CAC-1D39BDBC2EEE}" destId="{DBC56214-4432-4434-8518-707CDC63F5BF}" srcOrd="1" destOrd="0" presId="urn:microsoft.com/office/officeart/2005/8/layout/architecture"/>
    <dgm:cxn modelId="{DB4A8B43-B4BA-4E07-8074-6CB05CD4EDA6}" type="presParOf" srcId="{2B2119DE-9C5F-42BD-90CA-B1F7EF735AF4}" destId="{38DD3712-FE5D-4944-89FA-AD709564BD3A}" srcOrd="1" destOrd="0" presId="urn:microsoft.com/office/officeart/2005/8/layout/architecture"/>
    <dgm:cxn modelId="{A022927A-6581-4085-9B1E-1A1B9241A5B9}" type="presParOf" srcId="{2B2119DE-9C5F-42BD-90CA-B1F7EF735AF4}" destId="{1C4B8FF2-A5B4-46BA-942A-8A19BEE69F70}" srcOrd="2" destOrd="0" presId="urn:microsoft.com/office/officeart/2005/8/layout/architecture"/>
    <dgm:cxn modelId="{F8F4D0D2-67F7-4012-95B0-9EAC6389B7AB}" type="presParOf" srcId="{1C4B8FF2-A5B4-46BA-942A-8A19BEE69F70}" destId="{1F321622-6935-42D4-AE83-D556256DD586}" srcOrd="0" destOrd="0" presId="urn:microsoft.com/office/officeart/2005/8/layout/architecture"/>
    <dgm:cxn modelId="{CA4ADC7B-CE63-4DDF-84CA-4F8D3C8299E5}" type="presParOf" srcId="{1C4B8FF2-A5B4-46BA-942A-8A19BEE69F70}" destId="{824137B6-FDCD-4837-BBD2-6FDD09327885}" srcOrd="1" destOrd="0" presId="urn:microsoft.com/office/officeart/2005/8/layout/architecture"/>
    <dgm:cxn modelId="{6044EE94-C166-49A1-BF1D-8458B8A6AB6E}" type="presParOf" srcId="{2B2119DE-9C5F-42BD-90CA-B1F7EF735AF4}" destId="{ECE19E2B-8C42-4059-9124-AF3EDDEFF355}" srcOrd="3" destOrd="0" presId="urn:microsoft.com/office/officeart/2005/8/layout/architecture"/>
    <dgm:cxn modelId="{4306862D-A5A7-4385-B9E7-87BDA51C6F4C}" type="presParOf" srcId="{2B2119DE-9C5F-42BD-90CA-B1F7EF735AF4}" destId="{915571E0-40F3-4E75-A71C-E935FB4D94B6}" srcOrd="4" destOrd="0" presId="urn:microsoft.com/office/officeart/2005/8/layout/architecture"/>
    <dgm:cxn modelId="{8428C0B9-B4E0-44D2-926E-0600BBB39387}" type="presParOf" srcId="{915571E0-40F3-4E75-A71C-E935FB4D94B6}" destId="{AF9421C1-0977-4165-AE01-1E0941FF1DC2}" srcOrd="0" destOrd="0" presId="urn:microsoft.com/office/officeart/2005/8/layout/architecture"/>
    <dgm:cxn modelId="{DD6084D8-02F4-4A7D-8393-EF295DCC57C0}" type="presParOf" srcId="{915571E0-40F3-4E75-A71C-E935FB4D94B6}" destId="{870B6F6E-AE96-4262-9B4A-86C432C82D5E}" srcOrd="1" destOrd="0" presId="urn:microsoft.com/office/officeart/2005/8/layout/archite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>
        <a:solidFill>
          <a:srgbClr val="7030A0"/>
        </a:solidFill>
        <a:ln>
          <a:solidFill>
            <a:schemeClr val="tx1"/>
          </a:solidFill>
        </a:ln>
      </dgm:spPr>
      <dgm:t>
        <a:bodyPr/>
        <a:lstStyle/>
        <a:p>
          <a:br>
            <a:rPr lang="pl-PL" sz="2000" dirty="0"/>
          </a:br>
          <a:r>
            <a:rPr lang="en-US" sz="2000" dirty="0"/>
            <a:t>UI</a:t>
          </a:r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>
        <a:solidFill>
          <a:schemeClr val="accent3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0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pl-PL" sz="2000" dirty="0"/>
            <a:t>BACKEND</a:t>
          </a:r>
          <a:endParaRPr lang="en-US" sz="2000" dirty="0"/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 custScaleY="66687" custLinFactNeighborX="502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 custScaleY="63097" custLinFactNeighborX="524" custLinFactNeighborY="-71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 custScaleY="64367" custLinFactNeighborY="3926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BBE8411-3190-4A3A-B989-51C1B2947291}" type="presOf" srcId="{F7E37FBC-8099-4DB3-B4F8-DBDE0DCEC1D7}" destId="{9BFA4AC6-E825-4477-B889-F9C66C1195B8}" srcOrd="0" destOrd="0" presId="urn:microsoft.com/office/officeart/2005/8/layout/pyramid1"/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1B795B21-46DE-4755-943C-F01105C75C15}" type="presOf" srcId="{40285531-BAEE-43E6-BBD4-8249575B1878}" destId="{D9074314-C21A-447C-9E4D-59C6F495C412}" srcOrd="0" destOrd="0" presId="urn:microsoft.com/office/officeart/2005/8/layout/pyramid1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B55B675F-1AC6-4E11-9CF0-F9AED92641B5}" type="presOf" srcId="{40285531-BAEE-43E6-BBD4-8249575B1878}" destId="{9A3F85C7-0AE1-424E-8646-B4248B01294E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470F893-7D7E-45B6-A670-AB2ACA3D5826}" type="presOf" srcId="{F7E37FBC-8099-4DB3-B4F8-DBDE0DCEC1D7}" destId="{7008F9DC-B4CA-4C47-ACF8-16602824A142}" srcOrd="1" destOrd="0" presId="urn:microsoft.com/office/officeart/2005/8/layout/pyramid1"/>
    <dgm:cxn modelId="{369F40CD-1451-46A3-9197-B631F07F4D34}" type="presOf" srcId="{6ED7E280-935A-4740-AB58-C0FAE580BFA8}" destId="{3DF1A04F-9824-4FA2-8E9B-69197A34DB02}" srcOrd="0" destOrd="0" presId="urn:microsoft.com/office/officeart/2005/8/layout/pyramid1"/>
    <dgm:cxn modelId="{338064E2-CA05-402C-B778-2BB888B9D52E}" type="presOf" srcId="{6160D3D4-613A-4519-A481-F89ADD5F7320}" destId="{891CA3F0-A4E4-43F8-949C-180B2AB3BCFE}" srcOrd="0" destOrd="0" presId="urn:microsoft.com/office/officeart/2005/8/layout/pyramid1"/>
    <dgm:cxn modelId="{63F8C2F3-CB24-433D-B098-C4D03AADA2D6}" type="presOf" srcId="{6ED7E280-935A-4740-AB58-C0FAE580BFA8}" destId="{B615F79F-706C-4309-9FFC-D94774F354E8}" srcOrd="1" destOrd="0" presId="urn:microsoft.com/office/officeart/2005/8/layout/pyramid1"/>
    <dgm:cxn modelId="{951B6FEC-DD2B-42BC-8A79-CF422BD9EFFA}" type="presParOf" srcId="{891CA3F0-A4E4-43F8-949C-180B2AB3BCFE}" destId="{24A053E9-ED32-40AA-8B2A-BD33F0C11AE2}" srcOrd="0" destOrd="0" presId="urn:microsoft.com/office/officeart/2005/8/layout/pyramid1"/>
    <dgm:cxn modelId="{B7C3F258-D632-4838-9E52-1B6E9767325C}" type="presParOf" srcId="{24A053E9-ED32-40AA-8B2A-BD33F0C11AE2}" destId="{9BFA4AC6-E825-4477-B889-F9C66C1195B8}" srcOrd="0" destOrd="0" presId="urn:microsoft.com/office/officeart/2005/8/layout/pyramid1"/>
    <dgm:cxn modelId="{53458D5B-F8AF-487B-A420-7BB925AD6C32}" type="presParOf" srcId="{24A053E9-ED32-40AA-8B2A-BD33F0C11AE2}" destId="{7008F9DC-B4CA-4C47-ACF8-16602824A142}" srcOrd="1" destOrd="0" presId="urn:microsoft.com/office/officeart/2005/8/layout/pyramid1"/>
    <dgm:cxn modelId="{571B8127-D607-4AEE-BB6F-FC06E4E97617}" type="presParOf" srcId="{891CA3F0-A4E4-43F8-949C-180B2AB3BCFE}" destId="{141F8D72-3F15-4CC5-95F4-F3EA15242490}" srcOrd="1" destOrd="0" presId="urn:microsoft.com/office/officeart/2005/8/layout/pyramid1"/>
    <dgm:cxn modelId="{95977A26-58CE-4D66-9B8D-9EDB9D4CAC50}" type="presParOf" srcId="{141F8D72-3F15-4CC5-95F4-F3EA15242490}" destId="{3DF1A04F-9824-4FA2-8E9B-69197A34DB02}" srcOrd="0" destOrd="0" presId="urn:microsoft.com/office/officeart/2005/8/layout/pyramid1"/>
    <dgm:cxn modelId="{5BFC64BE-3618-43D8-9A25-45308346F1BB}" type="presParOf" srcId="{141F8D72-3F15-4CC5-95F4-F3EA15242490}" destId="{B615F79F-706C-4309-9FFC-D94774F354E8}" srcOrd="1" destOrd="0" presId="urn:microsoft.com/office/officeart/2005/8/layout/pyramid1"/>
    <dgm:cxn modelId="{E784AAA4-333B-463A-A8C1-50E1D680DDF9}" type="presParOf" srcId="{891CA3F0-A4E4-43F8-949C-180B2AB3BCFE}" destId="{6B315756-5F49-4E5C-B814-8281ACC31042}" srcOrd="2" destOrd="0" presId="urn:microsoft.com/office/officeart/2005/8/layout/pyramid1"/>
    <dgm:cxn modelId="{FAD2DC6E-DAF8-4C98-A139-F4A09C8BE71C}" type="presParOf" srcId="{6B315756-5F49-4E5C-B814-8281ACC31042}" destId="{D9074314-C21A-447C-9E4D-59C6F495C412}" srcOrd="0" destOrd="0" presId="urn:microsoft.com/office/officeart/2005/8/layout/pyramid1"/>
    <dgm:cxn modelId="{03C408EF-023C-4948-9A09-A3CC2203B567}" type="presParOf" srcId="{6B315756-5F49-4E5C-B814-8281ACC31042}" destId="{9A3F85C7-0AE1-424E-8646-B4248B01294E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en-US"/>
        </a:p>
      </dgm:t>
    </dgm:pt>
    <dgm:pt modelId="{9F55D7CF-8097-4194-8244-B89F07303527}">
      <dgm:prSet/>
      <dgm:spPr/>
      <dgm:t>
        <a:bodyPr/>
        <a:lstStyle/>
        <a:p>
          <a:pPr rtl="0"/>
          <a:r>
            <a:rPr lang="en-US" b="0" noProof="0" dirty="0"/>
            <a:t>Test report with logs and/or screenshots</a:t>
          </a:r>
          <a:endParaRPr lang="en-US" noProof="0" dirty="0"/>
        </a:p>
      </dgm:t>
    </dgm:pt>
    <dgm:pt modelId="{71B80231-6085-4C15-B487-3B1A2767A074}" type="parTrans" cxnId="{B51C1A01-DB8E-4309-84FA-007EBB17BAF6}">
      <dgm:prSet/>
      <dgm:spPr/>
      <dgm:t>
        <a:bodyPr/>
        <a:lstStyle/>
        <a:p>
          <a:endParaRPr lang="en-US"/>
        </a:p>
      </dgm:t>
    </dgm:pt>
    <dgm:pt modelId="{34E8E9D6-BAF0-4F3E-9BE8-2E41F1C3C941}" type="sibTrans" cxnId="{B51C1A01-DB8E-4309-84FA-007EBB17BAF6}">
      <dgm:prSet/>
      <dgm:spPr/>
      <dgm:t>
        <a:bodyPr/>
        <a:lstStyle/>
        <a:p>
          <a:endParaRPr lang="en-US"/>
        </a:p>
      </dgm:t>
    </dgm:pt>
    <dgm:pt modelId="{D094D585-6C76-412E-BD27-4B41F44E5558}">
      <dgm:prSet/>
      <dgm:spPr/>
      <dgm:t>
        <a:bodyPr/>
        <a:lstStyle/>
        <a:p>
          <a:pPr rtl="0"/>
          <a:r>
            <a:rPr lang="en-US" b="0" dirty="0"/>
            <a:t>Test groups/tags</a:t>
          </a:r>
          <a:endParaRPr lang="en-US" dirty="0"/>
        </a:p>
      </dgm:t>
    </dgm:pt>
    <dgm:pt modelId="{0F5D0E4C-93A6-4A1C-A896-3561C49A42F7}" type="parTrans" cxnId="{20F901BA-FF8F-46AE-B95A-73B186DF85F6}">
      <dgm:prSet/>
      <dgm:spPr/>
      <dgm:t>
        <a:bodyPr/>
        <a:lstStyle/>
        <a:p>
          <a:endParaRPr lang="en-US"/>
        </a:p>
      </dgm:t>
    </dgm:pt>
    <dgm:pt modelId="{93BE2FDB-41FD-4983-B761-9B0DE3468366}" type="sibTrans" cxnId="{20F901BA-FF8F-46AE-B95A-73B186DF85F6}">
      <dgm:prSet/>
      <dgm:spPr/>
      <dgm:t>
        <a:bodyPr/>
        <a:lstStyle/>
        <a:p>
          <a:endParaRPr lang="en-US"/>
        </a:p>
      </dgm:t>
    </dgm:pt>
    <dgm:pt modelId="{F351AED9-A162-41CA-83C5-B59C6A144331}">
      <dgm:prSet/>
      <dgm:spPr/>
      <dgm:t>
        <a:bodyPr/>
        <a:lstStyle/>
        <a:p>
          <a:pPr rtl="0"/>
          <a:r>
            <a:rPr lang="en-US" b="0" dirty="0"/>
            <a:t>Data Driven (inside test case, external file) </a:t>
          </a:r>
          <a:endParaRPr lang="en-US" dirty="0"/>
        </a:p>
      </dgm:t>
    </dgm:pt>
    <dgm:pt modelId="{A965AA55-741B-4941-B313-C29A3D9135CE}" type="parTrans" cxnId="{ADAF7C4A-92B8-4BEF-8BD6-F93568551990}">
      <dgm:prSet/>
      <dgm:spPr/>
      <dgm:t>
        <a:bodyPr/>
        <a:lstStyle/>
        <a:p>
          <a:endParaRPr lang="en-US"/>
        </a:p>
      </dgm:t>
    </dgm:pt>
    <dgm:pt modelId="{F0571F5E-EBFA-4CFA-AD6E-C0F7901AD4A2}" type="sibTrans" cxnId="{ADAF7C4A-92B8-4BEF-8BD6-F93568551990}">
      <dgm:prSet/>
      <dgm:spPr/>
      <dgm:t>
        <a:bodyPr/>
        <a:lstStyle/>
        <a:p>
          <a:endParaRPr lang="en-US"/>
        </a:p>
      </dgm:t>
    </dgm:pt>
    <dgm:pt modelId="{3C1296A7-9188-4B78-A328-583A924CCB21}">
      <dgm:prSet/>
      <dgm:spPr/>
      <dgm:t>
        <a:bodyPr/>
        <a:lstStyle/>
        <a:p>
          <a:pPr rtl="0"/>
          <a:r>
            <a:rPr lang="en-US" b="0" dirty="0"/>
            <a:t>Test case parallel execution</a:t>
          </a:r>
          <a:endParaRPr lang="en-US" dirty="0"/>
        </a:p>
      </dgm:t>
    </dgm:pt>
    <dgm:pt modelId="{E9625C25-4F80-42C4-A58C-69E8B91CCA74}" type="parTrans" cxnId="{8EECACAD-03C9-491D-A160-8F972D6D6D76}">
      <dgm:prSet/>
      <dgm:spPr/>
      <dgm:t>
        <a:bodyPr/>
        <a:lstStyle/>
        <a:p>
          <a:endParaRPr lang="en-US"/>
        </a:p>
      </dgm:t>
    </dgm:pt>
    <dgm:pt modelId="{1A77C360-9A15-47CC-BBB6-9ACFEE281871}" type="sibTrans" cxnId="{8EECACAD-03C9-491D-A160-8F972D6D6D76}">
      <dgm:prSet/>
      <dgm:spPr/>
      <dgm:t>
        <a:bodyPr/>
        <a:lstStyle/>
        <a:p>
          <a:endParaRPr lang="en-US"/>
        </a:p>
      </dgm:t>
    </dgm:pt>
    <dgm:pt modelId="{D103C41C-BFA2-4896-B38B-A31A093616C1}">
      <dgm:prSet/>
      <dgm:spPr/>
      <dgm:t>
        <a:bodyPr/>
        <a:lstStyle/>
        <a:p>
          <a:pPr rtl="0"/>
          <a:r>
            <a:rPr lang="en-US" b="0" dirty="0"/>
            <a:t>Run on independent </a:t>
          </a:r>
          <a:r>
            <a:rPr lang="en-US" b="0" dirty="0" err="1"/>
            <a:t>OperatingSystem</a:t>
          </a:r>
          <a:endParaRPr lang="en-US" dirty="0"/>
        </a:p>
      </dgm:t>
    </dgm:pt>
    <dgm:pt modelId="{03AAF690-47E1-4CB5-ACF4-7AA8EC57107C}" type="parTrans" cxnId="{1B5AC086-9AD8-4BE7-B651-AE500723ED57}">
      <dgm:prSet/>
      <dgm:spPr/>
      <dgm:t>
        <a:bodyPr/>
        <a:lstStyle/>
        <a:p>
          <a:endParaRPr lang="en-US"/>
        </a:p>
      </dgm:t>
    </dgm:pt>
    <dgm:pt modelId="{22DF664E-EC3B-4484-8A01-89D7C2078FDE}" type="sibTrans" cxnId="{1B5AC086-9AD8-4BE7-B651-AE500723ED57}">
      <dgm:prSet/>
      <dgm:spPr/>
      <dgm:t>
        <a:bodyPr/>
        <a:lstStyle/>
        <a:p>
          <a:endParaRPr lang="en-US"/>
        </a:p>
      </dgm:t>
    </dgm:pt>
    <dgm:pt modelId="{9217F70A-A76B-4345-93CB-E81800D0B5D7}">
      <dgm:prSet/>
      <dgm:spPr/>
      <dgm:t>
        <a:bodyPr/>
        <a:lstStyle/>
        <a:p>
          <a:pPr rtl="0"/>
          <a:r>
            <a:rPr lang="en-US" b="0" noProof="0" dirty="0"/>
            <a:t>Externalize</a:t>
          </a:r>
          <a:r>
            <a:rPr lang="en-US" b="0" dirty="0"/>
            <a:t> test environment (DEV, QA, PROD)</a:t>
          </a:r>
          <a:endParaRPr lang="en-US" dirty="0"/>
        </a:p>
      </dgm:t>
    </dgm:pt>
    <dgm:pt modelId="{AC2E7A23-E1FA-4691-873E-7F875E9F3800}" type="parTrans" cxnId="{713C4041-30DB-48E5-A927-39BCBF53D49F}">
      <dgm:prSet/>
      <dgm:spPr/>
      <dgm:t>
        <a:bodyPr/>
        <a:lstStyle/>
        <a:p>
          <a:endParaRPr lang="en-US"/>
        </a:p>
      </dgm:t>
    </dgm:pt>
    <dgm:pt modelId="{6793679E-A839-4582-8118-98366CA3572A}" type="sibTrans" cxnId="{713C4041-30DB-48E5-A927-39BCBF53D49F}">
      <dgm:prSet/>
      <dgm:spPr/>
      <dgm:t>
        <a:bodyPr/>
        <a:lstStyle/>
        <a:p>
          <a:endParaRPr lang="en-US"/>
        </a:p>
      </dgm:t>
    </dgm:pt>
    <dgm:pt modelId="{B4DE31CE-6A58-47BA-BC99-D2FD60C1D4E8}">
      <dgm:prSet/>
      <dgm:spPr/>
      <dgm:t>
        <a:bodyPr/>
        <a:lstStyle/>
        <a:p>
          <a:pPr rtl="0"/>
          <a:r>
            <a:rPr lang="en-US" b="0"/>
            <a:t>BDD - Gherkin – Cucumber approach</a:t>
          </a:r>
          <a:endParaRPr lang="en-US" dirty="0"/>
        </a:p>
      </dgm:t>
    </dgm:pt>
    <dgm:pt modelId="{073089C3-FB64-4249-8BDB-E797B506DD8C}" type="parTrans" cxnId="{7F0FC2E0-B94E-4BA4-9BF3-99C23F5F9FB9}">
      <dgm:prSet/>
      <dgm:spPr/>
      <dgm:t>
        <a:bodyPr/>
        <a:lstStyle/>
        <a:p>
          <a:endParaRPr lang="en-US"/>
        </a:p>
      </dgm:t>
    </dgm:pt>
    <dgm:pt modelId="{4121ADB6-AE29-42CE-A453-6F89BEC3B911}" type="sibTrans" cxnId="{7F0FC2E0-B94E-4BA4-9BF3-99C23F5F9FB9}">
      <dgm:prSet/>
      <dgm:spPr/>
      <dgm:t>
        <a:bodyPr/>
        <a:lstStyle/>
        <a:p>
          <a:endParaRPr lang="en-US"/>
        </a:p>
      </dgm:t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7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7"/>
      <dgm:spPr/>
    </dgm:pt>
    <dgm:pt modelId="{080232DF-F1AE-40A2-9FD4-410B9E4F6996}" type="pres">
      <dgm:prSet presAssocID="{7F0E5C44-F38F-4F59-B87E-A00E01F36002}" presName="dstNode" presStyleLbl="node1" presStyleIdx="0" presStyleCnt="7"/>
      <dgm:spPr/>
    </dgm:pt>
    <dgm:pt modelId="{3A2BAD60-1173-4F05-AA2D-A6CC7480963C}" type="pres">
      <dgm:prSet presAssocID="{9F55D7CF-8097-4194-8244-B89F07303527}" presName="text_1" presStyleLbl="node1" presStyleIdx="0" presStyleCnt="7">
        <dgm:presLayoutVars>
          <dgm:bulletEnabled val="1"/>
        </dgm:presLayoutVars>
      </dgm:prSet>
      <dgm:spPr/>
    </dgm:pt>
    <dgm:pt modelId="{81A215F9-B995-4D96-8151-666DA7537286}" type="pres">
      <dgm:prSet presAssocID="{9F55D7CF-8097-4194-8244-B89F07303527}" presName="accent_1" presStyleCnt="0"/>
      <dgm:spPr/>
    </dgm:pt>
    <dgm:pt modelId="{876AAFB9-EF87-4539-844B-B2D7225647F2}" type="pres">
      <dgm:prSet presAssocID="{9F55D7CF-8097-4194-8244-B89F07303527}" presName="accentRepeatNode" presStyleLbl="solidFgAcc1" presStyleIdx="0" presStyleCnt="7"/>
      <dgm:spPr/>
    </dgm:pt>
    <dgm:pt modelId="{B8E83F1C-CC72-4F68-9ECB-BA7C8F4350EF}" type="pres">
      <dgm:prSet presAssocID="{D094D585-6C76-412E-BD27-4B41F44E5558}" presName="text_2" presStyleLbl="node1" presStyleIdx="1" presStyleCnt="7">
        <dgm:presLayoutVars>
          <dgm:bulletEnabled val="1"/>
        </dgm:presLayoutVars>
      </dgm:prSet>
      <dgm:spPr/>
    </dgm:pt>
    <dgm:pt modelId="{F94BDC5E-E7BA-4C81-BD53-5D4F0588387E}" type="pres">
      <dgm:prSet presAssocID="{D094D585-6C76-412E-BD27-4B41F44E5558}" presName="accent_2" presStyleCnt="0"/>
      <dgm:spPr/>
    </dgm:pt>
    <dgm:pt modelId="{2DD28F3F-8955-489D-889B-C6E41AE5FA1D}" type="pres">
      <dgm:prSet presAssocID="{D094D585-6C76-412E-BD27-4B41F44E5558}" presName="accentRepeatNode" presStyleLbl="solidFgAcc1" presStyleIdx="1" presStyleCnt="7"/>
      <dgm:spPr/>
    </dgm:pt>
    <dgm:pt modelId="{E57A0B6C-4C65-44BC-B21C-AAF6F8AF38E8}" type="pres">
      <dgm:prSet presAssocID="{F351AED9-A162-41CA-83C5-B59C6A144331}" presName="text_3" presStyleLbl="node1" presStyleIdx="2" presStyleCnt="7">
        <dgm:presLayoutVars>
          <dgm:bulletEnabled val="1"/>
        </dgm:presLayoutVars>
      </dgm:prSet>
      <dgm:spPr/>
    </dgm:pt>
    <dgm:pt modelId="{C88FB9C8-7E44-4D37-9D09-F6EB94E71724}" type="pres">
      <dgm:prSet presAssocID="{F351AED9-A162-41CA-83C5-B59C6A144331}" presName="accent_3" presStyleCnt="0"/>
      <dgm:spPr/>
    </dgm:pt>
    <dgm:pt modelId="{5FBA14F6-BA1D-4D16-83B0-270970CAB886}" type="pres">
      <dgm:prSet presAssocID="{F351AED9-A162-41CA-83C5-B59C6A144331}" presName="accentRepeatNode" presStyleLbl="solidFgAcc1" presStyleIdx="2" presStyleCnt="7"/>
      <dgm:spPr/>
    </dgm:pt>
    <dgm:pt modelId="{D711A2C5-F86A-43E0-9FAE-3A67569BA5B0}" type="pres">
      <dgm:prSet presAssocID="{3C1296A7-9188-4B78-A328-583A924CCB21}" presName="text_4" presStyleLbl="node1" presStyleIdx="3" presStyleCnt="7">
        <dgm:presLayoutVars>
          <dgm:bulletEnabled val="1"/>
        </dgm:presLayoutVars>
      </dgm:prSet>
      <dgm:spPr/>
    </dgm:pt>
    <dgm:pt modelId="{948F1B9A-9940-409B-8D69-E84CB743B564}" type="pres">
      <dgm:prSet presAssocID="{3C1296A7-9188-4B78-A328-583A924CCB21}" presName="accent_4" presStyleCnt="0"/>
      <dgm:spPr/>
    </dgm:pt>
    <dgm:pt modelId="{59FBA889-EC7D-49F7-81C3-DD02DF163D89}" type="pres">
      <dgm:prSet presAssocID="{3C1296A7-9188-4B78-A328-583A924CCB21}" presName="accentRepeatNode" presStyleLbl="solidFgAcc1" presStyleIdx="3" presStyleCnt="7"/>
      <dgm:spPr/>
    </dgm:pt>
    <dgm:pt modelId="{363461BD-7C47-4EE1-96A8-82A06184494F}" type="pres">
      <dgm:prSet presAssocID="{B4DE31CE-6A58-47BA-BC99-D2FD60C1D4E8}" presName="text_5" presStyleLbl="node1" presStyleIdx="4" presStyleCnt="7">
        <dgm:presLayoutVars>
          <dgm:bulletEnabled val="1"/>
        </dgm:presLayoutVars>
      </dgm:prSet>
      <dgm:spPr/>
    </dgm:pt>
    <dgm:pt modelId="{E6C105E5-AE72-486B-AABC-6AEAF94074B9}" type="pres">
      <dgm:prSet presAssocID="{B4DE31CE-6A58-47BA-BC99-D2FD60C1D4E8}" presName="accent_5" presStyleCnt="0"/>
      <dgm:spPr/>
    </dgm:pt>
    <dgm:pt modelId="{C69AC0EA-F0F5-4799-A5B2-7BF3B1CF7514}" type="pres">
      <dgm:prSet presAssocID="{B4DE31CE-6A58-47BA-BC99-D2FD60C1D4E8}" presName="accentRepeatNode" presStyleLbl="solidFgAcc1" presStyleIdx="4" presStyleCnt="7"/>
      <dgm:spPr/>
    </dgm:pt>
    <dgm:pt modelId="{24EB16FC-BC1B-4585-BA5F-5E1E9FF581BB}" type="pres">
      <dgm:prSet presAssocID="{D103C41C-BFA2-4896-B38B-A31A093616C1}" presName="text_6" presStyleLbl="node1" presStyleIdx="5" presStyleCnt="7">
        <dgm:presLayoutVars>
          <dgm:bulletEnabled val="1"/>
        </dgm:presLayoutVars>
      </dgm:prSet>
      <dgm:spPr/>
    </dgm:pt>
    <dgm:pt modelId="{9C35467B-9A1F-4943-9CC5-3E6D7F37E404}" type="pres">
      <dgm:prSet presAssocID="{D103C41C-BFA2-4896-B38B-A31A093616C1}" presName="accent_6" presStyleCnt="0"/>
      <dgm:spPr/>
    </dgm:pt>
    <dgm:pt modelId="{A648D221-FF1E-41B1-982F-C0EFE4A686E7}" type="pres">
      <dgm:prSet presAssocID="{D103C41C-BFA2-4896-B38B-A31A093616C1}" presName="accentRepeatNode" presStyleLbl="solidFgAcc1" presStyleIdx="5" presStyleCnt="7"/>
      <dgm:spPr/>
    </dgm:pt>
    <dgm:pt modelId="{F4765A12-1D16-4653-81E5-96196C38CD5E}" type="pres">
      <dgm:prSet presAssocID="{9217F70A-A76B-4345-93CB-E81800D0B5D7}" presName="text_7" presStyleLbl="node1" presStyleIdx="6" presStyleCnt="7">
        <dgm:presLayoutVars>
          <dgm:bulletEnabled val="1"/>
        </dgm:presLayoutVars>
      </dgm:prSet>
      <dgm:spPr/>
    </dgm:pt>
    <dgm:pt modelId="{72AEB2D3-AE61-4B51-9269-EAA212A2A4CD}" type="pres">
      <dgm:prSet presAssocID="{9217F70A-A76B-4345-93CB-E81800D0B5D7}" presName="accent_7" presStyleCnt="0"/>
      <dgm:spPr/>
    </dgm:pt>
    <dgm:pt modelId="{F7C9F1C0-885E-414E-AA3A-26FA93C53DA2}" type="pres">
      <dgm:prSet presAssocID="{9217F70A-A76B-4345-93CB-E81800D0B5D7}" presName="accentRepeatNode" presStyleLbl="solidFgAcc1" presStyleIdx="6" presStyleCnt="7"/>
      <dgm:spPr/>
    </dgm:pt>
  </dgm:ptLst>
  <dgm:cxnLst>
    <dgm:cxn modelId="{B51C1A01-DB8E-4309-84FA-007EBB17BAF6}" srcId="{7F0E5C44-F38F-4F59-B87E-A00E01F36002}" destId="{9F55D7CF-8097-4194-8244-B89F07303527}" srcOrd="0" destOrd="0" parTransId="{71B80231-6085-4C15-B487-3B1A2767A074}" sibTransId="{34E8E9D6-BAF0-4F3E-9BE8-2E41F1C3C941}"/>
    <dgm:cxn modelId="{7DBB1924-1BFA-4ED8-83EC-8AB992C6D892}" type="presOf" srcId="{7F0E5C44-F38F-4F59-B87E-A00E01F36002}" destId="{20B3E8DE-E296-4B0B-9297-3AD755DECFA4}" srcOrd="0" destOrd="0" presId="urn:microsoft.com/office/officeart/2008/layout/VerticalCurvedList"/>
    <dgm:cxn modelId="{97018E2B-F62D-40F6-8407-6452C0F9308F}" type="presOf" srcId="{D094D585-6C76-412E-BD27-4B41F44E5558}" destId="{B8E83F1C-CC72-4F68-9ECB-BA7C8F4350EF}" srcOrd="0" destOrd="0" presId="urn:microsoft.com/office/officeart/2008/layout/VerticalCurvedList"/>
    <dgm:cxn modelId="{10597236-864F-4E4C-B505-0FE31B02D888}" type="presOf" srcId="{B4DE31CE-6A58-47BA-BC99-D2FD60C1D4E8}" destId="{363461BD-7C47-4EE1-96A8-82A06184494F}" srcOrd="0" destOrd="0" presId="urn:microsoft.com/office/officeart/2008/layout/VerticalCurvedList"/>
    <dgm:cxn modelId="{589AA836-87D7-49E5-8FC3-CBE9935FDB97}" type="presOf" srcId="{3C1296A7-9188-4B78-A328-583A924CCB21}" destId="{D711A2C5-F86A-43E0-9FAE-3A67569BA5B0}" srcOrd="0" destOrd="0" presId="urn:microsoft.com/office/officeart/2008/layout/VerticalCurvedList"/>
    <dgm:cxn modelId="{CE62303A-DEFE-4064-A0E5-9A1C3389CA9B}" type="presOf" srcId="{F351AED9-A162-41CA-83C5-B59C6A144331}" destId="{E57A0B6C-4C65-44BC-B21C-AAF6F8AF38E8}" srcOrd="0" destOrd="0" presId="urn:microsoft.com/office/officeart/2008/layout/VerticalCurvedList"/>
    <dgm:cxn modelId="{713C4041-30DB-48E5-A927-39BCBF53D49F}" srcId="{7F0E5C44-F38F-4F59-B87E-A00E01F36002}" destId="{9217F70A-A76B-4345-93CB-E81800D0B5D7}" srcOrd="6" destOrd="0" parTransId="{AC2E7A23-E1FA-4691-873E-7F875E9F3800}" sibTransId="{6793679E-A839-4582-8118-98366CA3572A}"/>
    <dgm:cxn modelId="{ADAF7C4A-92B8-4BEF-8BD6-F93568551990}" srcId="{7F0E5C44-F38F-4F59-B87E-A00E01F36002}" destId="{F351AED9-A162-41CA-83C5-B59C6A144331}" srcOrd="2" destOrd="0" parTransId="{A965AA55-741B-4941-B313-C29A3D9135CE}" sibTransId="{F0571F5E-EBFA-4CFA-AD6E-C0F7901AD4A2}"/>
    <dgm:cxn modelId="{7E01FA78-B2C5-480E-878F-203CFBCD3C91}" type="presOf" srcId="{9217F70A-A76B-4345-93CB-E81800D0B5D7}" destId="{F4765A12-1D16-4653-81E5-96196C38CD5E}" srcOrd="0" destOrd="0" presId="urn:microsoft.com/office/officeart/2008/layout/VerticalCurvedList"/>
    <dgm:cxn modelId="{1B5AC086-9AD8-4BE7-B651-AE500723ED57}" srcId="{7F0E5C44-F38F-4F59-B87E-A00E01F36002}" destId="{D103C41C-BFA2-4896-B38B-A31A093616C1}" srcOrd="5" destOrd="0" parTransId="{03AAF690-47E1-4CB5-ACF4-7AA8EC57107C}" sibTransId="{22DF664E-EC3B-4484-8A01-89D7C2078FDE}"/>
    <dgm:cxn modelId="{9C59438B-A90F-4B9B-9DDB-4522973C08A8}" type="presOf" srcId="{34E8E9D6-BAF0-4F3E-9BE8-2E41F1C3C941}" destId="{A2DEE40E-0B66-4B91-8AC9-45EB49F811C8}" srcOrd="0" destOrd="0" presId="urn:microsoft.com/office/officeart/2008/layout/VerticalCurvedList"/>
    <dgm:cxn modelId="{018B7A94-E223-48C9-80F0-935D84A85839}" type="presOf" srcId="{D103C41C-BFA2-4896-B38B-A31A093616C1}" destId="{24EB16FC-BC1B-4585-BA5F-5E1E9FF581BB}" srcOrd="0" destOrd="0" presId="urn:microsoft.com/office/officeart/2008/layout/VerticalCurvedList"/>
    <dgm:cxn modelId="{8EECACAD-03C9-491D-A160-8F972D6D6D76}" srcId="{7F0E5C44-F38F-4F59-B87E-A00E01F36002}" destId="{3C1296A7-9188-4B78-A328-583A924CCB21}" srcOrd="3" destOrd="0" parTransId="{E9625C25-4F80-42C4-A58C-69E8B91CCA74}" sibTransId="{1A77C360-9A15-47CC-BBB6-9ACFEE281871}"/>
    <dgm:cxn modelId="{20F901BA-FF8F-46AE-B95A-73B186DF85F6}" srcId="{7F0E5C44-F38F-4F59-B87E-A00E01F36002}" destId="{D094D585-6C76-412E-BD27-4B41F44E5558}" srcOrd="1" destOrd="0" parTransId="{0F5D0E4C-93A6-4A1C-A896-3561C49A42F7}" sibTransId="{93BE2FDB-41FD-4983-B761-9B0DE3468366}"/>
    <dgm:cxn modelId="{D232C6C7-B5D5-47CE-AE37-C4FA8A915096}" type="presOf" srcId="{9F55D7CF-8097-4194-8244-B89F07303527}" destId="{3A2BAD60-1173-4F05-AA2D-A6CC7480963C}" srcOrd="0" destOrd="0" presId="urn:microsoft.com/office/officeart/2008/layout/VerticalCurvedList"/>
    <dgm:cxn modelId="{7F0FC2E0-B94E-4BA4-9BF3-99C23F5F9FB9}" srcId="{7F0E5C44-F38F-4F59-B87E-A00E01F36002}" destId="{B4DE31CE-6A58-47BA-BC99-D2FD60C1D4E8}" srcOrd="4" destOrd="0" parTransId="{073089C3-FB64-4249-8BDB-E797B506DD8C}" sibTransId="{4121ADB6-AE29-42CE-A453-6F89BEC3B911}"/>
    <dgm:cxn modelId="{6D87FF8B-3B94-439B-9BF0-AE01C5B9BD25}" type="presParOf" srcId="{20B3E8DE-E296-4B0B-9297-3AD755DECFA4}" destId="{24C282F9-CC65-4ECF-B3E9-94A85C0AF7AC}" srcOrd="0" destOrd="0" presId="urn:microsoft.com/office/officeart/2008/layout/VerticalCurvedList"/>
    <dgm:cxn modelId="{8FC0BBD1-7A8A-4DD1-81DD-6BD1550C9DA9}" type="presParOf" srcId="{24C282F9-CC65-4ECF-B3E9-94A85C0AF7AC}" destId="{E0BB4683-76B2-4A56-B37C-3465F67B753D}" srcOrd="0" destOrd="0" presId="urn:microsoft.com/office/officeart/2008/layout/VerticalCurvedList"/>
    <dgm:cxn modelId="{B8D0A00C-4544-41EF-BC88-AB252B13EE4A}" type="presParOf" srcId="{E0BB4683-76B2-4A56-B37C-3465F67B753D}" destId="{1604BA2B-9262-4FB9-BC42-0CFDF7DCDF42}" srcOrd="0" destOrd="0" presId="urn:microsoft.com/office/officeart/2008/layout/VerticalCurvedList"/>
    <dgm:cxn modelId="{BA545546-B2A4-427A-80EB-DD44BABDD4B7}" type="presParOf" srcId="{E0BB4683-76B2-4A56-B37C-3465F67B753D}" destId="{A2DEE40E-0B66-4B91-8AC9-45EB49F811C8}" srcOrd="1" destOrd="0" presId="urn:microsoft.com/office/officeart/2008/layout/VerticalCurvedList"/>
    <dgm:cxn modelId="{F4CC05E5-7FEE-4591-9C5A-1BAEB0C0F4A9}" type="presParOf" srcId="{E0BB4683-76B2-4A56-B37C-3465F67B753D}" destId="{EF74BBB2-5EF5-4416-845A-8434ECD2FC8B}" srcOrd="2" destOrd="0" presId="urn:microsoft.com/office/officeart/2008/layout/VerticalCurvedList"/>
    <dgm:cxn modelId="{37120072-713E-4151-86A7-94F3EA8CA474}" type="presParOf" srcId="{E0BB4683-76B2-4A56-B37C-3465F67B753D}" destId="{080232DF-F1AE-40A2-9FD4-410B9E4F6996}" srcOrd="3" destOrd="0" presId="urn:microsoft.com/office/officeart/2008/layout/VerticalCurvedList"/>
    <dgm:cxn modelId="{77038DBE-58D9-4B82-96AC-A7BD98A1F2FF}" type="presParOf" srcId="{24C282F9-CC65-4ECF-B3E9-94A85C0AF7AC}" destId="{3A2BAD60-1173-4F05-AA2D-A6CC7480963C}" srcOrd="1" destOrd="0" presId="urn:microsoft.com/office/officeart/2008/layout/VerticalCurvedList"/>
    <dgm:cxn modelId="{329B8226-D4C5-464D-B8FB-DE5EB6D2208A}" type="presParOf" srcId="{24C282F9-CC65-4ECF-B3E9-94A85C0AF7AC}" destId="{81A215F9-B995-4D96-8151-666DA7537286}" srcOrd="2" destOrd="0" presId="urn:microsoft.com/office/officeart/2008/layout/VerticalCurvedList"/>
    <dgm:cxn modelId="{DEE64FFE-6217-4C7D-AA82-6A628C15DECD}" type="presParOf" srcId="{81A215F9-B995-4D96-8151-666DA7537286}" destId="{876AAFB9-EF87-4539-844B-B2D7225647F2}" srcOrd="0" destOrd="0" presId="urn:microsoft.com/office/officeart/2008/layout/VerticalCurvedList"/>
    <dgm:cxn modelId="{BFA4443A-6B25-40AF-BB5B-B3D7B1470968}" type="presParOf" srcId="{24C282F9-CC65-4ECF-B3E9-94A85C0AF7AC}" destId="{B8E83F1C-CC72-4F68-9ECB-BA7C8F4350EF}" srcOrd="3" destOrd="0" presId="urn:microsoft.com/office/officeart/2008/layout/VerticalCurvedList"/>
    <dgm:cxn modelId="{A0D9116C-0E97-4AF8-9F35-06F2D1311A81}" type="presParOf" srcId="{24C282F9-CC65-4ECF-B3E9-94A85C0AF7AC}" destId="{F94BDC5E-E7BA-4C81-BD53-5D4F0588387E}" srcOrd="4" destOrd="0" presId="urn:microsoft.com/office/officeart/2008/layout/VerticalCurvedList"/>
    <dgm:cxn modelId="{39FC776A-97EB-4A05-B2B8-59264F9B52B8}" type="presParOf" srcId="{F94BDC5E-E7BA-4C81-BD53-5D4F0588387E}" destId="{2DD28F3F-8955-489D-889B-C6E41AE5FA1D}" srcOrd="0" destOrd="0" presId="urn:microsoft.com/office/officeart/2008/layout/VerticalCurvedList"/>
    <dgm:cxn modelId="{F7121B5E-B584-4B4A-B45C-347DD4BCDDE2}" type="presParOf" srcId="{24C282F9-CC65-4ECF-B3E9-94A85C0AF7AC}" destId="{E57A0B6C-4C65-44BC-B21C-AAF6F8AF38E8}" srcOrd="5" destOrd="0" presId="urn:microsoft.com/office/officeart/2008/layout/VerticalCurvedList"/>
    <dgm:cxn modelId="{8D467289-C8EC-48AF-88DB-6DC1FD1A6713}" type="presParOf" srcId="{24C282F9-CC65-4ECF-B3E9-94A85C0AF7AC}" destId="{C88FB9C8-7E44-4D37-9D09-F6EB94E71724}" srcOrd="6" destOrd="0" presId="urn:microsoft.com/office/officeart/2008/layout/VerticalCurvedList"/>
    <dgm:cxn modelId="{BF07E6C3-5368-44A2-8FA6-8F137C508A0C}" type="presParOf" srcId="{C88FB9C8-7E44-4D37-9D09-F6EB94E71724}" destId="{5FBA14F6-BA1D-4D16-83B0-270970CAB886}" srcOrd="0" destOrd="0" presId="urn:microsoft.com/office/officeart/2008/layout/VerticalCurvedList"/>
    <dgm:cxn modelId="{4AC4B813-83D9-42BB-B6F3-0B72756AA200}" type="presParOf" srcId="{24C282F9-CC65-4ECF-B3E9-94A85C0AF7AC}" destId="{D711A2C5-F86A-43E0-9FAE-3A67569BA5B0}" srcOrd="7" destOrd="0" presId="urn:microsoft.com/office/officeart/2008/layout/VerticalCurvedList"/>
    <dgm:cxn modelId="{23B78F99-1EF9-4A35-A5BA-EB502E4CC5CA}" type="presParOf" srcId="{24C282F9-CC65-4ECF-B3E9-94A85C0AF7AC}" destId="{948F1B9A-9940-409B-8D69-E84CB743B564}" srcOrd="8" destOrd="0" presId="urn:microsoft.com/office/officeart/2008/layout/VerticalCurvedList"/>
    <dgm:cxn modelId="{2AC5974C-B707-41DA-8883-A4823558DAAB}" type="presParOf" srcId="{948F1B9A-9940-409B-8D69-E84CB743B564}" destId="{59FBA889-EC7D-49F7-81C3-DD02DF163D89}" srcOrd="0" destOrd="0" presId="urn:microsoft.com/office/officeart/2008/layout/VerticalCurvedList"/>
    <dgm:cxn modelId="{9D68588C-F959-4480-A906-9835A44117F6}" type="presParOf" srcId="{24C282F9-CC65-4ECF-B3E9-94A85C0AF7AC}" destId="{363461BD-7C47-4EE1-96A8-82A06184494F}" srcOrd="9" destOrd="0" presId="urn:microsoft.com/office/officeart/2008/layout/VerticalCurvedList"/>
    <dgm:cxn modelId="{14116718-9851-41B2-A4BB-B6CD65B1D52E}" type="presParOf" srcId="{24C282F9-CC65-4ECF-B3E9-94A85C0AF7AC}" destId="{E6C105E5-AE72-486B-AABC-6AEAF94074B9}" srcOrd="10" destOrd="0" presId="urn:microsoft.com/office/officeart/2008/layout/VerticalCurvedList"/>
    <dgm:cxn modelId="{C6C33A4D-7CDB-408D-B158-C02560262BE2}" type="presParOf" srcId="{E6C105E5-AE72-486B-AABC-6AEAF94074B9}" destId="{C69AC0EA-F0F5-4799-A5B2-7BF3B1CF7514}" srcOrd="0" destOrd="0" presId="urn:microsoft.com/office/officeart/2008/layout/VerticalCurvedList"/>
    <dgm:cxn modelId="{E31DE6B1-CAE4-4019-8804-D717AF4FE797}" type="presParOf" srcId="{24C282F9-CC65-4ECF-B3E9-94A85C0AF7AC}" destId="{24EB16FC-BC1B-4585-BA5F-5E1E9FF581BB}" srcOrd="11" destOrd="0" presId="urn:microsoft.com/office/officeart/2008/layout/VerticalCurvedList"/>
    <dgm:cxn modelId="{DE34F36E-2CD0-4380-AA31-FD2565A535E3}" type="presParOf" srcId="{24C282F9-CC65-4ECF-B3E9-94A85C0AF7AC}" destId="{9C35467B-9A1F-4943-9CC5-3E6D7F37E404}" srcOrd="12" destOrd="0" presId="urn:microsoft.com/office/officeart/2008/layout/VerticalCurvedList"/>
    <dgm:cxn modelId="{C927D781-9B60-4CAC-86C6-4B605CE1C530}" type="presParOf" srcId="{9C35467B-9A1F-4943-9CC5-3E6D7F37E404}" destId="{A648D221-FF1E-41B1-982F-C0EFE4A686E7}" srcOrd="0" destOrd="0" presId="urn:microsoft.com/office/officeart/2008/layout/VerticalCurvedList"/>
    <dgm:cxn modelId="{E61864D6-18EF-4F67-A253-29750DDAE7DB}" type="presParOf" srcId="{24C282F9-CC65-4ECF-B3E9-94A85C0AF7AC}" destId="{F4765A12-1D16-4653-81E5-96196C38CD5E}" srcOrd="13" destOrd="0" presId="urn:microsoft.com/office/officeart/2008/layout/VerticalCurvedList"/>
    <dgm:cxn modelId="{13325BAE-5C39-4063-BDDF-C25511B9CA3A}" type="presParOf" srcId="{24C282F9-CC65-4ECF-B3E9-94A85C0AF7AC}" destId="{72AEB2D3-AE61-4B51-9269-EAA212A2A4CD}" srcOrd="14" destOrd="0" presId="urn:microsoft.com/office/officeart/2008/layout/VerticalCurvedList"/>
    <dgm:cxn modelId="{0FE1EB06-3E91-4CC8-A366-57EFBBA63ADD}" type="presParOf" srcId="{72AEB2D3-AE61-4B51-9269-EAA212A2A4CD}" destId="{F7C9F1C0-885E-414E-AA3A-26FA93C53DA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52E17B4-A133-442B-A821-50D09324DF0E}" type="doc">
      <dgm:prSet loTypeId="urn:microsoft.com/office/officeart/2005/8/layout/target3" loCatId="list" qsTypeId="urn:microsoft.com/office/officeart/2005/8/quickstyle/simple2" qsCatId="simple" csTypeId="urn:microsoft.com/office/officeart/2005/8/colors/colorful1#12" csCatId="colorful" phldr="1"/>
      <dgm:spPr/>
      <dgm:t>
        <a:bodyPr/>
        <a:lstStyle/>
        <a:p>
          <a:endParaRPr lang="en-US"/>
        </a:p>
      </dgm:t>
    </dgm:pt>
    <dgm:pt modelId="{93651136-4267-437C-B485-82BEEB5D5CBC}">
      <dgm:prSet phldrT="[Text]"/>
      <dgm:spPr/>
      <dgm:t>
        <a:bodyPr/>
        <a:lstStyle/>
        <a:p>
          <a:r>
            <a:rPr lang="pl-PL" dirty="0" err="1"/>
            <a:t>Regression</a:t>
          </a:r>
          <a:r>
            <a:rPr lang="pl-PL" dirty="0"/>
            <a:t> </a:t>
          </a:r>
          <a:r>
            <a:rPr lang="pl-PL" dirty="0" err="1"/>
            <a:t>Suite</a:t>
          </a:r>
          <a:endParaRPr lang="en-US" dirty="0"/>
        </a:p>
      </dgm:t>
    </dgm:pt>
    <dgm:pt modelId="{0B2B2CC6-6A94-40D1-8AAE-777B9463825A}" type="parTrans" cxnId="{DFE198E8-B6F8-4097-9622-87CDE6BEBF0A}">
      <dgm:prSet/>
      <dgm:spPr/>
      <dgm:t>
        <a:bodyPr/>
        <a:lstStyle/>
        <a:p>
          <a:endParaRPr lang="en-US"/>
        </a:p>
      </dgm:t>
    </dgm:pt>
    <dgm:pt modelId="{037AC342-A828-442B-9607-2128F1BF5581}" type="sibTrans" cxnId="{DFE198E8-B6F8-4097-9622-87CDE6BEBF0A}">
      <dgm:prSet/>
      <dgm:spPr/>
      <dgm:t>
        <a:bodyPr/>
        <a:lstStyle/>
        <a:p>
          <a:endParaRPr lang="en-US"/>
        </a:p>
      </dgm:t>
    </dgm:pt>
    <dgm:pt modelId="{D8EFD4A4-5570-4AD3-93B5-8AB421532C48}">
      <dgm:prSet phldrT="[Text]"/>
      <dgm:spPr/>
      <dgm:t>
        <a:bodyPr/>
        <a:lstStyle/>
        <a:p>
          <a:r>
            <a:rPr lang="pl-PL" dirty="0" err="1"/>
            <a:t>Smoke</a:t>
          </a:r>
          <a:endParaRPr lang="en-US" dirty="0"/>
        </a:p>
      </dgm:t>
    </dgm:pt>
    <dgm:pt modelId="{91E0A493-718C-43C2-B8B6-496C8AAB3851}" type="parTrans" cxnId="{A08C8CE5-4988-4BD5-B5B0-446F6EF07859}">
      <dgm:prSet/>
      <dgm:spPr/>
      <dgm:t>
        <a:bodyPr/>
        <a:lstStyle/>
        <a:p>
          <a:endParaRPr lang="en-US"/>
        </a:p>
      </dgm:t>
    </dgm:pt>
    <dgm:pt modelId="{B642735B-CB07-430F-8FCA-C51D7C6E947A}" type="sibTrans" cxnId="{A08C8CE5-4988-4BD5-B5B0-446F6EF07859}">
      <dgm:prSet/>
      <dgm:spPr/>
      <dgm:t>
        <a:bodyPr/>
        <a:lstStyle/>
        <a:p>
          <a:endParaRPr lang="en-US"/>
        </a:p>
      </dgm:t>
    </dgm:pt>
    <dgm:pt modelId="{93AAF520-BFEF-4A3C-B77F-96F76B707CFE}">
      <dgm:prSet phldrT="[Text]"/>
      <dgm:spPr/>
      <dgm:t>
        <a:bodyPr/>
        <a:lstStyle/>
        <a:p>
          <a:r>
            <a:rPr lang="pl-PL" dirty="0"/>
            <a:t>Business </a:t>
          </a:r>
          <a:r>
            <a:rPr lang="pl-PL" dirty="0" err="1"/>
            <a:t>vital</a:t>
          </a:r>
          <a:r>
            <a:rPr lang="pl-PL" dirty="0"/>
            <a:t> </a:t>
          </a:r>
          <a:r>
            <a:rPr lang="pl-PL" dirty="0" err="1"/>
            <a:t>functionalities</a:t>
          </a:r>
          <a:endParaRPr lang="en-US" dirty="0"/>
        </a:p>
      </dgm:t>
    </dgm:pt>
    <dgm:pt modelId="{0DE29762-5C9C-4209-9C02-414F34059147}" type="parTrans" cxnId="{CC1F7FD4-B23B-4ECE-825C-2AAAF2BB7BBB}">
      <dgm:prSet/>
      <dgm:spPr/>
      <dgm:t>
        <a:bodyPr/>
        <a:lstStyle/>
        <a:p>
          <a:endParaRPr lang="en-US"/>
        </a:p>
      </dgm:t>
    </dgm:pt>
    <dgm:pt modelId="{48F944F8-37EF-4BE3-9EF2-E13A585AF8F7}" type="sibTrans" cxnId="{CC1F7FD4-B23B-4ECE-825C-2AAAF2BB7BBB}">
      <dgm:prSet/>
      <dgm:spPr/>
      <dgm:t>
        <a:bodyPr/>
        <a:lstStyle/>
        <a:p>
          <a:endParaRPr lang="en-US"/>
        </a:p>
      </dgm:t>
    </dgm:pt>
    <dgm:pt modelId="{64D70214-7169-418E-B948-80D2A027B9BD}">
      <dgm:prSet phldrT="[Text]"/>
      <dgm:spPr/>
      <dgm:t>
        <a:bodyPr/>
        <a:lstStyle/>
        <a:p>
          <a:r>
            <a:rPr lang="pl-PL" dirty="0" err="1"/>
            <a:t>Functional</a:t>
          </a:r>
          <a:r>
            <a:rPr lang="pl-PL" dirty="0"/>
            <a:t> </a:t>
          </a:r>
          <a:r>
            <a:rPr lang="pl-PL" dirty="0" err="1"/>
            <a:t>Suite</a:t>
          </a:r>
          <a:endParaRPr lang="en-US" dirty="0"/>
        </a:p>
      </dgm:t>
    </dgm:pt>
    <dgm:pt modelId="{046ED283-F37D-4184-AD88-CBCD62130321}" type="parTrans" cxnId="{C05C7B6B-6F09-438C-ADF1-F4BE8FC59825}">
      <dgm:prSet/>
      <dgm:spPr/>
      <dgm:t>
        <a:bodyPr/>
        <a:lstStyle/>
        <a:p>
          <a:endParaRPr lang="en-US"/>
        </a:p>
      </dgm:t>
    </dgm:pt>
    <dgm:pt modelId="{61F02E2E-C7E6-4148-8B2B-740679704D17}" type="sibTrans" cxnId="{C05C7B6B-6F09-438C-ADF1-F4BE8FC59825}">
      <dgm:prSet/>
      <dgm:spPr/>
      <dgm:t>
        <a:bodyPr/>
        <a:lstStyle/>
        <a:p>
          <a:endParaRPr lang="en-US"/>
        </a:p>
      </dgm:t>
    </dgm:pt>
    <dgm:pt modelId="{18ED3105-7715-4C94-9442-D75B60508CD7}">
      <dgm:prSet phldrT="[Text]"/>
      <dgm:spPr/>
      <dgm:t>
        <a:bodyPr/>
        <a:lstStyle/>
        <a:p>
          <a:r>
            <a:rPr lang="pl-PL" dirty="0" err="1"/>
            <a:t>Smoke</a:t>
          </a:r>
          <a:endParaRPr lang="en-US" dirty="0"/>
        </a:p>
      </dgm:t>
    </dgm:pt>
    <dgm:pt modelId="{24AF120D-DFBB-4A41-B506-D871187F588F}" type="parTrans" cxnId="{CDFFE02F-A5CE-40FA-9969-574DB87865F2}">
      <dgm:prSet/>
      <dgm:spPr/>
      <dgm:t>
        <a:bodyPr/>
        <a:lstStyle/>
        <a:p>
          <a:endParaRPr lang="en-US"/>
        </a:p>
      </dgm:t>
    </dgm:pt>
    <dgm:pt modelId="{E714472B-49D7-49DA-8F34-DF8E661317F7}" type="sibTrans" cxnId="{CDFFE02F-A5CE-40FA-9969-574DB87865F2}">
      <dgm:prSet/>
      <dgm:spPr/>
      <dgm:t>
        <a:bodyPr/>
        <a:lstStyle/>
        <a:p>
          <a:endParaRPr lang="en-US"/>
        </a:p>
      </dgm:t>
    </dgm:pt>
    <dgm:pt modelId="{4221A661-2343-4C6C-9458-D68F06122F86}">
      <dgm:prSet phldrT="[Text]"/>
      <dgm:spPr/>
      <dgm:t>
        <a:bodyPr/>
        <a:lstStyle/>
        <a:p>
          <a:r>
            <a:rPr lang="pl-PL" dirty="0"/>
            <a:t>Business </a:t>
          </a:r>
          <a:r>
            <a:rPr lang="pl-PL" dirty="0" err="1"/>
            <a:t>function</a:t>
          </a:r>
          <a:r>
            <a:rPr lang="pl-PL" dirty="0"/>
            <a:t> A</a:t>
          </a:r>
          <a:endParaRPr lang="en-US" dirty="0"/>
        </a:p>
      </dgm:t>
    </dgm:pt>
    <dgm:pt modelId="{FC060154-9472-4E74-ABEE-14C4816C849D}" type="parTrans" cxnId="{B6651B1C-C56B-409C-BDE3-1DAF323B0E8A}">
      <dgm:prSet/>
      <dgm:spPr/>
      <dgm:t>
        <a:bodyPr/>
        <a:lstStyle/>
        <a:p>
          <a:endParaRPr lang="en-US"/>
        </a:p>
      </dgm:t>
    </dgm:pt>
    <dgm:pt modelId="{BC88F0F7-B710-4ED8-B751-5081356FF02B}" type="sibTrans" cxnId="{B6651B1C-C56B-409C-BDE3-1DAF323B0E8A}">
      <dgm:prSet/>
      <dgm:spPr/>
      <dgm:t>
        <a:bodyPr/>
        <a:lstStyle/>
        <a:p>
          <a:endParaRPr lang="en-US"/>
        </a:p>
      </dgm:t>
    </dgm:pt>
    <dgm:pt modelId="{81EB8269-11B9-495E-A782-B89EA6FF360D}">
      <dgm:prSet phldrT="[Text]"/>
      <dgm:spPr/>
      <dgm:t>
        <a:bodyPr/>
        <a:lstStyle/>
        <a:p>
          <a:r>
            <a:rPr lang="pl-PL" dirty="0"/>
            <a:t>Single </a:t>
          </a:r>
          <a:r>
            <a:rPr lang="pl-PL" dirty="0" err="1"/>
            <a:t>Resposibilty</a:t>
          </a:r>
          <a:r>
            <a:rPr lang="pl-PL" dirty="0"/>
            <a:t> Unit</a:t>
          </a:r>
          <a:endParaRPr lang="en-US" dirty="0"/>
        </a:p>
      </dgm:t>
    </dgm:pt>
    <dgm:pt modelId="{FBC4A722-A4BF-48B7-9B16-6FA798E95513}" type="parTrans" cxnId="{E9F3BA53-572B-490C-943C-3AAFB0AFF0C8}">
      <dgm:prSet/>
      <dgm:spPr/>
      <dgm:t>
        <a:bodyPr/>
        <a:lstStyle/>
        <a:p>
          <a:endParaRPr lang="en-US"/>
        </a:p>
      </dgm:t>
    </dgm:pt>
    <dgm:pt modelId="{553490D4-C528-4252-A238-40E795EA4552}" type="sibTrans" cxnId="{E9F3BA53-572B-490C-943C-3AAFB0AFF0C8}">
      <dgm:prSet/>
      <dgm:spPr/>
      <dgm:t>
        <a:bodyPr/>
        <a:lstStyle/>
        <a:p>
          <a:endParaRPr lang="en-US"/>
        </a:p>
      </dgm:t>
    </dgm:pt>
    <dgm:pt modelId="{6C5C295A-708B-47F7-98DF-2DFF691627C9}">
      <dgm:prSet phldrT="[Text]"/>
      <dgm:spPr/>
      <dgm:t>
        <a:bodyPr/>
        <a:lstStyle/>
        <a:p>
          <a:r>
            <a:rPr lang="pl-PL" dirty="0"/>
            <a:t>Single Page</a:t>
          </a:r>
          <a:endParaRPr lang="en-US" dirty="0"/>
        </a:p>
      </dgm:t>
    </dgm:pt>
    <dgm:pt modelId="{34F85811-B9AD-4EA1-8416-B79A20AD4897}" type="parTrans" cxnId="{46AD4617-5E71-4FBE-93DF-A2F87F30AAFC}">
      <dgm:prSet/>
      <dgm:spPr/>
      <dgm:t>
        <a:bodyPr/>
        <a:lstStyle/>
        <a:p>
          <a:endParaRPr lang="en-US"/>
        </a:p>
      </dgm:t>
    </dgm:pt>
    <dgm:pt modelId="{8AD1756C-B92A-4987-A9FB-6554AA83D38E}" type="sibTrans" cxnId="{46AD4617-5E71-4FBE-93DF-A2F87F30AAFC}">
      <dgm:prSet/>
      <dgm:spPr/>
      <dgm:t>
        <a:bodyPr/>
        <a:lstStyle/>
        <a:p>
          <a:endParaRPr lang="en-US"/>
        </a:p>
      </dgm:t>
    </dgm:pt>
    <dgm:pt modelId="{EAD43A38-2E06-4AD3-9DDD-E84072D6B2C5}">
      <dgm:prSet phldrT="[Text]"/>
      <dgm:spPr/>
      <dgm:t>
        <a:bodyPr/>
        <a:lstStyle/>
        <a:p>
          <a:r>
            <a:rPr lang="pl-PL" dirty="0"/>
            <a:t>Business </a:t>
          </a:r>
          <a:r>
            <a:rPr lang="pl-PL" dirty="0" err="1"/>
            <a:t>function</a:t>
          </a:r>
          <a:r>
            <a:rPr lang="pl-PL" dirty="0"/>
            <a:t> B</a:t>
          </a:r>
          <a:endParaRPr lang="en-US" dirty="0"/>
        </a:p>
      </dgm:t>
    </dgm:pt>
    <dgm:pt modelId="{923EEFDF-DDA1-4251-8541-1506B4B86AC6}" type="parTrans" cxnId="{2CF2F301-C5F3-4E09-BD75-8A8D66E6B401}">
      <dgm:prSet/>
      <dgm:spPr/>
      <dgm:t>
        <a:bodyPr/>
        <a:lstStyle/>
        <a:p>
          <a:endParaRPr lang="en-US"/>
        </a:p>
      </dgm:t>
    </dgm:pt>
    <dgm:pt modelId="{BD57440C-4995-41D1-B0CC-BC7FA9824DE4}" type="sibTrans" cxnId="{2CF2F301-C5F3-4E09-BD75-8A8D66E6B401}">
      <dgm:prSet/>
      <dgm:spPr/>
      <dgm:t>
        <a:bodyPr/>
        <a:lstStyle/>
        <a:p>
          <a:endParaRPr lang="en-US"/>
        </a:p>
      </dgm:t>
    </dgm:pt>
    <dgm:pt modelId="{A19537BE-9F02-4482-908C-F0D4B3DE93FA}">
      <dgm:prSet phldrT="[Text]"/>
      <dgm:spPr/>
      <dgm:t>
        <a:bodyPr/>
        <a:lstStyle/>
        <a:p>
          <a:r>
            <a:rPr lang="pl-PL" dirty="0" err="1"/>
            <a:t>Specific</a:t>
          </a:r>
          <a:r>
            <a:rPr lang="pl-PL" dirty="0"/>
            <a:t> test </a:t>
          </a:r>
          <a:r>
            <a:rPr lang="pl-PL" dirty="0" err="1"/>
            <a:t>case</a:t>
          </a:r>
          <a:endParaRPr lang="en-US" dirty="0"/>
        </a:p>
      </dgm:t>
    </dgm:pt>
    <dgm:pt modelId="{9DB77C08-C79A-42A6-B1EF-1D83CFAAADB3}" type="parTrans" cxnId="{B895C58C-CBDA-4ACE-84A7-881DFEDDD21C}">
      <dgm:prSet/>
      <dgm:spPr/>
      <dgm:t>
        <a:bodyPr/>
        <a:lstStyle/>
        <a:p>
          <a:endParaRPr lang="en-US"/>
        </a:p>
      </dgm:t>
    </dgm:pt>
    <dgm:pt modelId="{508E0E85-C16B-438B-A3B8-853906E2E345}" type="sibTrans" cxnId="{B895C58C-CBDA-4ACE-84A7-881DFEDDD21C}">
      <dgm:prSet/>
      <dgm:spPr/>
      <dgm:t>
        <a:bodyPr/>
        <a:lstStyle/>
        <a:p>
          <a:endParaRPr lang="en-US"/>
        </a:p>
      </dgm:t>
    </dgm:pt>
    <dgm:pt modelId="{CC2D698F-C85C-4C20-A6D2-AA047D42F836}">
      <dgm:prSet phldrT="[Text]"/>
      <dgm:spPr/>
      <dgm:t>
        <a:bodyPr/>
        <a:lstStyle/>
        <a:p>
          <a:r>
            <a:rPr lang="pl-PL" dirty="0" err="1"/>
            <a:t>Full</a:t>
          </a:r>
          <a:r>
            <a:rPr lang="pl-PL" dirty="0"/>
            <a:t> </a:t>
          </a:r>
          <a:r>
            <a:rPr lang="pl-PL" dirty="0" err="1"/>
            <a:t>scope</a:t>
          </a:r>
          <a:r>
            <a:rPr lang="pl-PL" dirty="0"/>
            <a:t> of test </a:t>
          </a:r>
          <a:r>
            <a:rPr lang="pl-PL" dirty="0" err="1"/>
            <a:t>cases</a:t>
          </a:r>
          <a:r>
            <a:rPr lang="pl-PL" dirty="0"/>
            <a:t> </a:t>
          </a:r>
          <a:endParaRPr lang="en-US" dirty="0"/>
        </a:p>
      </dgm:t>
    </dgm:pt>
    <dgm:pt modelId="{F9AC6F21-6894-4D26-B54B-D39AE3D5D0BC}" type="parTrans" cxnId="{FDC6B830-F8CA-455B-8CB7-D442492FBCB4}">
      <dgm:prSet/>
      <dgm:spPr/>
      <dgm:t>
        <a:bodyPr/>
        <a:lstStyle/>
        <a:p>
          <a:endParaRPr lang="en-US"/>
        </a:p>
      </dgm:t>
    </dgm:pt>
    <dgm:pt modelId="{5BA759E6-4987-4249-BA0E-CCE1BAB9339F}" type="sibTrans" cxnId="{FDC6B830-F8CA-455B-8CB7-D442492FBCB4}">
      <dgm:prSet/>
      <dgm:spPr/>
      <dgm:t>
        <a:bodyPr/>
        <a:lstStyle/>
        <a:p>
          <a:endParaRPr lang="en-US"/>
        </a:p>
      </dgm:t>
    </dgm:pt>
    <dgm:pt modelId="{0AFBCCCE-382C-4D7E-9685-9FF529217BB2}" type="pres">
      <dgm:prSet presAssocID="{C52E17B4-A133-442B-A821-50D09324DF0E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EFB58E56-F2F6-4FCB-BC3E-C54B62C0707E}" type="pres">
      <dgm:prSet presAssocID="{93651136-4267-437C-B485-82BEEB5D5CBC}" presName="circle1" presStyleLbl="node1" presStyleIdx="0" presStyleCnt="3"/>
      <dgm:spPr/>
    </dgm:pt>
    <dgm:pt modelId="{DF720A2B-AA7F-4A64-B90A-DCC4088F79A6}" type="pres">
      <dgm:prSet presAssocID="{93651136-4267-437C-B485-82BEEB5D5CBC}" presName="space" presStyleCnt="0"/>
      <dgm:spPr/>
    </dgm:pt>
    <dgm:pt modelId="{1D1863A5-F46C-485A-88C0-D67DCAAFC321}" type="pres">
      <dgm:prSet presAssocID="{93651136-4267-437C-B485-82BEEB5D5CBC}" presName="rect1" presStyleLbl="alignAcc1" presStyleIdx="0" presStyleCnt="3"/>
      <dgm:spPr/>
    </dgm:pt>
    <dgm:pt modelId="{19EC3907-5E72-41F7-B1B6-9F709A738A81}" type="pres">
      <dgm:prSet presAssocID="{64D70214-7169-418E-B948-80D2A027B9BD}" presName="vertSpace2" presStyleLbl="node1" presStyleIdx="0" presStyleCnt="3"/>
      <dgm:spPr/>
    </dgm:pt>
    <dgm:pt modelId="{54B0664C-BC46-40A2-A84B-73DA6BC3B9EA}" type="pres">
      <dgm:prSet presAssocID="{64D70214-7169-418E-B948-80D2A027B9BD}" presName="circle2" presStyleLbl="node1" presStyleIdx="1" presStyleCnt="3"/>
      <dgm:spPr/>
    </dgm:pt>
    <dgm:pt modelId="{377D8835-4063-4D83-97A4-CB9ADBBE8933}" type="pres">
      <dgm:prSet presAssocID="{64D70214-7169-418E-B948-80D2A027B9BD}" presName="rect2" presStyleLbl="alignAcc1" presStyleIdx="1" presStyleCnt="3"/>
      <dgm:spPr/>
    </dgm:pt>
    <dgm:pt modelId="{DEAAC863-2B72-4DC2-A995-1E50E248114C}" type="pres">
      <dgm:prSet presAssocID="{81EB8269-11B9-495E-A782-B89EA6FF360D}" presName="vertSpace3" presStyleLbl="node1" presStyleIdx="1" presStyleCnt="3"/>
      <dgm:spPr/>
    </dgm:pt>
    <dgm:pt modelId="{A5E9FFAD-F3B9-4646-A56B-BA5A44A102AB}" type="pres">
      <dgm:prSet presAssocID="{81EB8269-11B9-495E-A782-B89EA6FF360D}" presName="circle3" presStyleLbl="node1" presStyleIdx="2" presStyleCnt="3"/>
      <dgm:spPr/>
    </dgm:pt>
    <dgm:pt modelId="{DF36E8F1-0630-43E6-92AD-DABE519345AB}" type="pres">
      <dgm:prSet presAssocID="{81EB8269-11B9-495E-A782-B89EA6FF360D}" presName="rect3" presStyleLbl="alignAcc1" presStyleIdx="2" presStyleCnt="3"/>
      <dgm:spPr/>
    </dgm:pt>
    <dgm:pt modelId="{A2BD5191-2439-499D-80A2-076F9C58DAB7}" type="pres">
      <dgm:prSet presAssocID="{93651136-4267-437C-B485-82BEEB5D5CBC}" presName="rect1ParTx" presStyleLbl="alignAcc1" presStyleIdx="2" presStyleCnt="3">
        <dgm:presLayoutVars>
          <dgm:chMax val="1"/>
          <dgm:bulletEnabled val="1"/>
        </dgm:presLayoutVars>
      </dgm:prSet>
      <dgm:spPr/>
    </dgm:pt>
    <dgm:pt modelId="{254B472F-A6E0-4905-9050-ECD41B0BFF9D}" type="pres">
      <dgm:prSet presAssocID="{93651136-4267-437C-B485-82BEEB5D5CBC}" presName="rect1ChTx" presStyleLbl="alignAcc1" presStyleIdx="2" presStyleCnt="3">
        <dgm:presLayoutVars>
          <dgm:bulletEnabled val="1"/>
        </dgm:presLayoutVars>
      </dgm:prSet>
      <dgm:spPr/>
    </dgm:pt>
    <dgm:pt modelId="{F5443CD3-AC0C-4ACC-9BD2-49491DA01679}" type="pres">
      <dgm:prSet presAssocID="{64D70214-7169-418E-B948-80D2A027B9BD}" presName="rect2ParTx" presStyleLbl="alignAcc1" presStyleIdx="2" presStyleCnt="3">
        <dgm:presLayoutVars>
          <dgm:chMax val="1"/>
          <dgm:bulletEnabled val="1"/>
        </dgm:presLayoutVars>
      </dgm:prSet>
      <dgm:spPr/>
    </dgm:pt>
    <dgm:pt modelId="{0016F7D7-A3F5-4472-B04A-A9F6669B9345}" type="pres">
      <dgm:prSet presAssocID="{64D70214-7169-418E-B948-80D2A027B9BD}" presName="rect2ChTx" presStyleLbl="alignAcc1" presStyleIdx="2" presStyleCnt="3" custScaleX="100905">
        <dgm:presLayoutVars>
          <dgm:bulletEnabled val="1"/>
        </dgm:presLayoutVars>
      </dgm:prSet>
      <dgm:spPr/>
    </dgm:pt>
    <dgm:pt modelId="{1237DF63-8448-4647-B2E1-C6223EC2DE50}" type="pres">
      <dgm:prSet presAssocID="{81EB8269-11B9-495E-A782-B89EA6FF360D}" presName="rect3ParTx" presStyleLbl="alignAcc1" presStyleIdx="2" presStyleCnt="3">
        <dgm:presLayoutVars>
          <dgm:chMax val="1"/>
          <dgm:bulletEnabled val="1"/>
        </dgm:presLayoutVars>
      </dgm:prSet>
      <dgm:spPr/>
    </dgm:pt>
    <dgm:pt modelId="{4E2A562A-D94B-4CCB-A5A1-826FCB96693B}" type="pres">
      <dgm:prSet presAssocID="{81EB8269-11B9-495E-A782-B89EA6FF360D}" presName="rect3ChTx" presStyleLbl="alignAcc1" presStyleIdx="2" presStyleCnt="3">
        <dgm:presLayoutVars>
          <dgm:bulletEnabled val="1"/>
        </dgm:presLayoutVars>
      </dgm:prSet>
      <dgm:spPr/>
    </dgm:pt>
  </dgm:ptLst>
  <dgm:cxnLst>
    <dgm:cxn modelId="{2CF2F301-C5F3-4E09-BD75-8A8D66E6B401}" srcId="{64D70214-7169-418E-B948-80D2A027B9BD}" destId="{EAD43A38-2E06-4AD3-9DDD-E84072D6B2C5}" srcOrd="2" destOrd="0" parTransId="{923EEFDF-DDA1-4251-8541-1506B4B86AC6}" sibTransId="{BD57440C-4995-41D1-B0CC-BC7FA9824DE4}"/>
    <dgm:cxn modelId="{E0F8A30F-D44F-4C1E-9BBF-ECB6991D8EC3}" type="presOf" srcId="{93AAF520-BFEF-4A3C-B77F-96F76B707CFE}" destId="{254B472F-A6E0-4905-9050-ECD41B0BFF9D}" srcOrd="0" destOrd="1" presId="urn:microsoft.com/office/officeart/2005/8/layout/target3"/>
    <dgm:cxn modelId="{46AD4617-5E71-4FBE-93DF-A2F87F30AAFC}" srcId="{81EB8269-11B9-495E-A782-B89EA6FF360D}" destId="{6C5C295A-708B-47F7-98DF-2DFF691627C9}" srcOrd="0" destOrd="0" parTransId="{34F85811-B9AD-4EA1-8416-B79A20AD4897}" sibTransId="{8AD1756C-B92A-4987-A9FB-6554AA83D38E}"/>
    <dgm:cxn modelId="{F9F86D19-7F58-45C0-8717-70D416683E2F}" type="presOf" srcId="{81EB8269-11B9-495E-A782-B89EA6FF360D}" destId="{1237DF63-8448-4647-B2E1-C6223EC2DE50}" srcOrd="1" destOrd="0" presId="urn:microsoft.com/office/officeart/2005/8/layout/target3"/>
    <dgm:cxn modelId="{B6651B1C-C56B-409C-BDE3-1DAF323B0E8A}" srcId="{64D70214-7169-418E-B948-80D2A027B9BD}" destId="{4221A661-2343-4C6C-9458-D68F06122F86}" srcOrd="1" destOrd="0" parTransId="{FC060154-9472-4E74-ABEE-14C4816C849D}" sibTransId="{BC88F0F7-B710-4ED8-B751-5081356FF02B}"/>
    <dgm:cxn modelId="{CB79B82D-AF23-47DE-B9EF-77642722B293}" type="presOf" srcId="{93651136-4267-437C-B485-82BEEB5D5CBC}" destId="{A2BD5191-2439-499D-80A2-076F9C58DAB7}" srcOrd="1" destOrd="0" presId="urn:microsoft.com/office/officeart/2005/8/layout/target3"/>
    <dgm:cxn modelId="{517F832E-E9B6-488F-8827-0CE26E795C63}" type="presOf" srcId="{64D70214-7169-418E-B948-80D2A027B9BD}" destId="{F5443CD3-AC0C-4ACC-9BD2-49491DA01679}" srcOrd="1" destOrd="0" presId="urn:microsoft.com/office/officeart/2005/8/layout/target3"/>
    <dgm:cxn modelId="{CDFFE02F-A5CE-40FA-9969-574DB87865F2}" srcId="{64D70214-7169-418E-B948-80D2A027B9BD}" destId="{18ED3105-7715-4C94-9442-D75B60508CD7}" srcOrd="0" destOrd="0" parTransId="{24AF120D-DFBB-4A41-B506-D871187F588F}" sibTransId="{E714472B-49D7-49DA-8F34-DF8E661317F7}"/>
    <dgm:cxn modelId="{FDC6B830-F8CA-455B-8CB7-D442492FBCB4}" srcId="{93651136-4267-437C-B485-82BEEB5D5CBC}" destId="{CC2D698F-C85C-4C20-A6D2-AA047D42F836}" srcOrd="2" destOrd="0" parTransId="{F9AC6F21-6894-4D26-B54B-D39AE3D5D0BC}" sibTransId="{5BA759E6-4987-4249-BA0E-CCE1BAB9339F}"/>
    <dgm:cxn modelId="{03FD1D62-E724-4F46-919D-A49A74BD8309}" type="presOf" srcId="{4221A661-2343-4C6C-9458-D68F06122F86}" destId="{0016F7D7-A3F5-4472-B04A-A9F6669B9345}" srcOrd="0" destOrd="1" presId="urn:microsoft.com/office/officeart/2005/8/layout/target3"/>
    <dgm:cxn modelId="{C05C7B6B-6F09-438C-ADF1-F4BE8FC59825}" srcId="{C52E17B4-A133-442B-A821-50D09324DF0E}" destId="{64D70214-7169-418E-B948-80D2A027B9BD}" srcOrd="1" destOrd="0" parTransId="{046ED283-F37D-4184-AD88-CBCD62130321}" sibTransId="{61F02E2E-C7E6-4148-8B2B-740679704D17}"/>
    <dgm:cxn modelId="{E9F3BA53-572B-490C-943C-3AAFB0AFF0C8}" srcId="{C52E17B4-A133-442B-A821-50D09324DF0E}" destId="{81EB8269-11B9-495E-A782-B89EA6FF360D}" srcOrd="2" destOrd="0" parTransId="{FBC4A722-A4BF-48B7-9B16-6FA798E95513}" sibTransId="{553490D4-C528-4252-A238-40E795EA4552}"/>
    <dgm:cxn modelId="{65CE9975-C03F-4AD4-8A8F-DB1F4AAAE0D6}" type="presOf" srcId="{81EB8269-11B9-495E-A782-B89EA6FF360D}" destId="{DF36E8F1-0630-43E6-92AD-DABE519345AB}" srcOrd="0" destOrd="0" presId="urn:microsoft.com/office/officeart/2005/8/layout/target3"/>
    <dgm:cxn modelId="{B895C58C-CBDA-4ACE-84A7-881DFEDDD21C}" srcId="{81EB8269-11B9-495E-A782-B89EA6FF360D}" destId="{A19537BE-9F02-4482-908C-F0D4B3DE93FA}" srcOrd="1" destOrd="0" parTransId="{9DB77C08-C79A-42A6-B1EF-1D83CFAAADB3}" sibTransId="{508E0E85-C16B-438B-A3B8-853906E2E345}"/>
    <dgm:cxn modelId="{7066298E-3AA5-4277-A997-E35258728263}" type="presOf" srcId="{A19537BE-9F02-4482-908C-F0D4B3DE93FA}" destId="{4E2A562A-D94B-4CCB-A5A1-826FCB96693B}" srcOrd="0" destOrd="1" presId="urn:microsoft.com/office/officeart/2005/8/layout/target3"/>
    <dgm:cxn modelId="{A99B0593-99C2-4B0F-8419-090953BF6EC1}" type="presOf" srcId="{93651136-4267-437C-B485-82BEEB5D5CBC}" destId="{1D1863A5-F46C-485A-88C0-D67DCAAFC321}" srcOrd="0" destOrd="0" presId="urn:microsoft.com/office/officeart/2005/8/layout/target3"/>
    <dgm:cxn modelId="{9A32A4A3-E44E-4AEB-86C9-B61957AE001D}" type="presOf" srcId="{6C5C295A-708B-47F7-98DF-2DFF691627C9}" destId="{4E2A562A-D94B-4CCB-A5A1-826FCB96693B}" srcOrd="0" destOrd="0" presId="urn:microsoft.com/office/officeart/2005/8/layout/target3"/>
    <dgm:cxn modelId="{A7E330AE-C6F0-42D7-806C-7D67EEFB7E75}" type="presOf" srcId="{D8EFD4A4-5570-4AD3-93B5-8AB421532C48}" destId="{254B472F-A6E0-4905-9050-ECD41B0BFF9D}" srcOrd="0" destOrd="0" presId="urn:microsoft.com/office/officeart/2005/8/layout/target3"/>
    <dgm:cxn modelId="{61C4C1C9-C845-40A2-873D-1860E4A2D975}" type="presOf" srcId="{64D70214-7169-418E-B948-80D2A027B9BD}" destId="{377D8835-4063-4D83-97A4-CB9ADBBE8933}" srcOrd="0" destOrd="0" presId="urn:microsoft.com/office/officeart/2005/8/layout/target3"/>
    <dgm:cxn modelId="{CC1F7FD4-B23B-4ECE-825C-2AAAF2BB7BBB}" srcId="{93651136-4267-437C-B485-82BEEB5D5CBC}" destId="{93AAF520-BFEF-4A3C-B77F-96F76B707CFE}" srcOrd="1" destOrd="0" parTransId="{0DE29762-5C9C-4209-9C02-414F34059147}" sibTransId="{48F944F8-37EF-4BE3-9EF2-E13A585AF8F7}"/>
    <dgm:cxn modelId="{2D6179DE-38CD-467A-B2BD-71A34B59A9A7}" type="presOf" srcId="{C52E17B4-A133-442B-A821-50D09324DF0E}" destId="{0AFBCCCE-382C-4D7E-9685-9FF529217BB2}" srcOrd="0" destOrd="0" presId="urn:microsoft.com/office/officeart/2005/8/layout/target3"/>
    <dgm:cxn modelId="{A9B4B9DF-1D8A-4B4A-ACBB-D49F4BF9E735}" type="presOf" srcId="{18ED3105-7715-4C94-9442-D75B60508CD7}" destId="{0016F7D7-A3F5-4472-B04A-A9F6669B9345}" srcOrd="0" destOrd="0" presId="urn:microsoft.com/office/officeart/2005/8/layout/target3"/>
    <dgm:cxn modelId="{A08C8CE5-4988-4BD5-B5B0-446F6EF07859}" srcId="{93651136-4267-437C-B485-82BEEB5D5CBC}" destId="{D8EFD4A4-5570-4AD3-93B5-8AB421532C48}" srcOrd="0" destOrd="0" parTransId="{91E0A493-718C-43C2-B8B6-496C8AAB3851}" sibTransId="{B642735B-CB07-430F-8FCA-C51D7C6E947A}"/>
    <dgm:cxn modelId="{DFE198E8-B6F8-4097-9622-87CDE6BEBF0A}" srcId="{C52E17B4-A133-442B-A821-50D09324DF0E}" destId="{93651136-4267-437C-B485-82BEEB5D5CBC}" srcOrd="0" destOrd="0" parTransId="{0B2B2CC6-6A94-40D1-8AAE-777B9463825A}" sibTransId="{037AC342-A828-442B-9607-2128F1BF5581}"/>
    <dgm:cxn modelId="{F17FF5ED-5CB0-4FBA-B765-8F75578EC47F}" type="presOf" srcId="{CC2D698F-C85C-4C20-A6D2-AA047D42F836}" destId="{254B472F-A6E0-4905-9050-ECD41B0BFF9D}" srcOrd="0" destOrd="2" presId="urn:microsoft.com/office/officeart/2005/8/layout/target3"/>
    <dgm:cxn modelId="{07AC50F9-495D-419A-AE5F-8C6758B07172}" type="presOf" srcId="{EAD43A38-2E06-4AD3-9DDD-E84072D6B2C5}" destId="{0016F7D7-A3F5-4472-B04A-A9F6669B9345}" srcOrd="0" destOrd="2" presId="urn:microsoft.com/office/officeart/2005/8/layout/target3"/>
    <dgm:cxn modelId="{81CD7BD4-6CB4-4785-8BE6-E40E5B8D79A4}" type="presParOf" srcId="{0AFBCCCE-382C-4D7E-9685-9FF529217BB2}" destId="{EFB58E56-F2F6-4FCB-BC3E-C54B62C0707E}" srcOrd="0" destOrd="0" presId="urn:microsoft.com/office/officeart/2005/8/layout/target3"/>
    <dgm:cxn modelId="{6698F623-B715-4729-84AE-DA817B8C6536}" type="presParOf" srcId="{0AFBCCCE-382C-4D7E-9685-9FF529217BB2}" destId="{DF720A2B-AA7F-4A64-B90A-DCC4088F79A6}" srcOrd="1" destOrd="0" presId="urn:microsoft.com/office/officeart/2005/8/layout/target3"/>
    <dgm:cxn modelId="{BA2B4E29-57AC-4590-B851-B61D15935AA1}" type="presParOf" srcId="{0AFBCCCE-382C-4D7E-9685-9FF529217BB2}" destId="{1D1863A5-F46C-485A-88C0-D67DCAAFC321}" srcOrd="2" destOrd="0" presId="urn:microsoft.com/office/officeart/2005/8/layout/target3"/>
    <dgm:cxn modelId="{264E76AB-983A-4C0D-8F46-E319AF4A2E14}" type="presParOf" srcId="{0AFBCCCE-382C-4D7E-9685-9FF529217BB2}" destId="{19EC3907-5E72-41F7-B1B6-9F709A738A81}" srcOrd="3" destOrd="0" presId="urn:microsoft.com/office/officeart/2005/8/layout/target3"/>
    <dgm:cxn modelId="{08EF442B-B478-4EB7-B38B-B61E8D5C30F4}" type="presParOf" srcId="{0AFBCCCE-382C-4D7E-9685-9FF529217BB2}" destId="{54B0664C-BC46-40A2-A84B-73DA6BC3B9EA}" srcOrd="4" destOrd="0" presId="urn:microsoft.com/office/officeart/2005/8/layout/target3"/>
    <dgm:cxn modelId="{4E160F81-95A9-4467-9C05-5BB3CF1255E9}" type="presParOf" srcId="{0AFBCCCE-382C-4D7E-9685-9FF529217BB2}" destId="{377D8835-4063-4D83-97A4-CB9ADBBE8933}" srcOrd="5" destOrd="0" presId="urn:microsoft.com/office/officeart/2005/8/layout/target3"/>
    <dgm:cxn modelId="{8A266C48-ED12-4546-BF2D-512BC05BFA81}" type="presParOf" srcId="{0AFBCCCE-382C-4D7E-9685-9FF529217BB2}" destId="{DEAAC863-2B72-4DC2-A995-1E50E248114C}" srcOrd="6" destOrd="0" presId="urn:microsoft.com/office/officeart/2005/8/layout/target3"/>
    <dgm:cxn modelId="{6C47291B-72B3-4BAD-9DF7-A845354DBC9A}" type="presParOf" srcId="{0AFBCCCE-382C-4D7E-9685-9FF529217BB2}" destId="{A5E9FFAD-F3B9-4646-A56B-BA5A44A102AB}" srcOrd="7" destOrd="0" presId="urn:microsoft.com/office/officeart/2005/8/layout/target3"/>
    <dgm:cxn modelId="{7694F0B7-CA67-41BD-AE31-F02C23310E04}" type="presParOf" srcId="{0AFBCCCE-382C-4D7E-9685-9FF529217BB2}" destId="{DF36E8F1-0630-43E6-92AD-DABE519345AB}" srcOrd="8" destOrd="0" presId="urn:microsoft.com/office/officeart/2005/8/layout/target3"/>
    <dgm:cxn modelId="{2A8AE132-A66A-4FD6-A910-3196CD8CE8D9}" type="presParOf" srcId="{0AFBCCCE-382C-4D7E-9685-9FF529217BB2}" destId="{A2BD5191-2439-499D-80A2-076F9C58DAB7}" srcOrd="9" destOrd="0" presId="urn:microsoft.com/office/officeart/2005/8/layout/target3"/>
    <dgm:cxn modelId="{2875D00F-C35F-40A9-85C7-D2EFE70F0107}" type="presParOf" srcId="{0AFBCCCE-382C-4D7E-9685-9FF529217BB2}" destId="{254B472F-A6E0-4905-9050-ECD41B0BFF9D}" srcOrd="10" destOrd="0" presId="urn:microsoft.com/office/officeart/2005/8/layout/target3"/>
    <dgm:cxn modelId="{335421F8-E05D-4435-8DF4-66CA8534F3DD}" type="presParOf" srcId="{0AFBCCCE-382C-4D7E-9685-9FF529217BB2}" destId="{F5443CD3-AC0C-4ACC-9BD2-49491DA01679}" srcOrd="11" destOrd="0" presId="urn:microsoft.com/office/officeart/2005/8/layout/target3"/>
    <dgm:cxn modelId="{07E5E789-DCEA-4DC1-9A80-2D6235518FDD}" type="presParOf" srcId="{0AFBCCCE-382C-4D7E-9685-9FF529217BB2}" destId="{0016F7D7-A3F5-4472-B04A-A9F6669B9345}" srcOrd="12" destOrd="0" presId="urn:microsoft.com/office/officeart/2005/8/layout/target3"/>
    <dgm:cxn modelId="{0CEBCC9A-4A8D-4232-935A-88D8D4E7CD74}" type="presParOf" srcId="{0AFBCCCE-382C-4D7E-9685-9FF529217BB2}" destId="{1237DF63-8448-4647-B2E1-C6223EC2DE50}" srcOrd="13" destOrd="0" presId="urn:microsoft.com/office/officeart/2005/8/layout/target3"/>
    <dgm:cxn modelId="{6EF85AA8-9060-465A-8F92-616ED34CEC3A}" type="presParOf" srcId="{0AFBCCCE-382C-4D7E-9685-9FF529217BB2}" destId="{4E2A562A-D94B-4CCB-A5A1-826FCB96693B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85DC594-96EA-4600-8302-5104C95412AC}" type="doc">
      <dgm:prSet loTypeId="urn:microsoft.com/office/officeart/2009/3/layout/PhasedProcess" loCatId="process" qsTypeId="urn:microsoft.com/office/officeart/2005/8/quickstyle/simple1" qsCatId="simple" csTypeId="urn:microsoft.com/office/officeart/2005/8/colors/colorful2" csCatId="colorful" phldr="1"/>
      <dgm:spPr/>
    </dgm:pt>
    <dgm:pt modelId="{F43247B5-DF60-4A7C-9567-53AC6F8236D1}">
      <dgm:prSet phldrT="[Text]"/>
      <dgm:spPr/>
      <dgm:t>
        <a:bodyPr/>
        <a:lstStyle/>
        <a:p>
          <a:r>
            <a:rPr lang="pl-PL" dirty="0"/>
            <a:t>Test Data</a:t>
          </a:r>
          <a:endParaRPr lang="en-US" dirty="0"/>
        </a:p>
      </dgm:t>
    </dgm:pt>
    <dgm:pt modelId="{ECE1BAF5-DC31-4375-88A2-AAC5B527BBD9}" type="parTrans" cxnId="{707C8269-1170-49D0-B0C3-E2D6612096EB}">
      <dgm:prSet/>
      <dgm:spPr/>
      <dgm:t>
        <a:bodyPr/>
        <a:lstStyle/>
        <a:p>
          <a:endParaRPr lang="en-US"/>
        </a:p>
      </dgm:t>
    </dgm:pt>
    <dgm:pt modelId="{13806D78-CC7F-4EB7-8380-EE6C6817DF49}" type="sibTrans" cxnId="{707C8269-1170-49D0-B0C3-E2D6612096EB}">
      <dgm:prSet/>
      <dgm:spPr/>
      <dgm:t>
        <a:bodyPr/>
        <a:lstStyle/>
        <a:p>
          <a:endParaRPr lang="en-US"/>
        </a:p>
      </dgm:t>
    </dgm:pt>
    <dgm:pt modelId="{313F3428-8DC9-4E91-B9E6-1AD5D5C70925}">
      <dgm:prSet phldrT="[Text]"/>
      <dgm:spPr/>
      <dgm:t>
        <a:bodyPr/>
        <a:lstStyle/>
        <a:p>
          <a:r>
            <a:rPr lang="pl-PL" dirty="0"/>
            <a:t>Test business </a:t>
          </a:r>
          <a:r>
            <a:rPr lang="pl-PL" dirty="0" err="1"/>
            <a:t>logic</a:t>
          </a:r>
          <a:endParaRPr lang="en-US" dirty="0"/>
        </a:p>
      </dgm:t>
    </dgm:pt>
    <dgm:pt modelId="{4513228D-C182-4710-BC4E-8EFB118440F4}" type="parTrans" cxnId="{FF288DC3-1771-4119-A9A0-0F2DE9D822C8}">
      <dgm:prSet/>
      <dgm:spPr/>
      <dgm:t>
        <a:bodyPr/>
        <a:lstStyle/>
        <a:p>
          <a:endParaRPr lang="en-US"/>
        </a:p>
      </dgm:t>
    </dgm:pt>
    <dgm:pt modelId="{F4EEE02C-E198-400F-8CD4-15DDA0C75647}" type="sibTrans" cxnId="{FF288DC3-1771-4119-A9A0-0F2DE9D822C8}">
      <dgm:prSet/>
      <dgm:spPr/>
      <dgm:t>
        <a:bodyPr/>
        <a:lstStyle/>
        <a:p>
          <a:endParaRPr lang="en-US"/>
        </a:p>
      </dgm:t>
    </dgm:pt>
    <dgm:pt modelId="{1D92B933-79DB-4CEC-BEC8-807BE4E36A7D}">
      <dgm:prSet phldrT="[Text]"/>
      <dgm:spPr/>
      <dgm:t>
        <a:bodyPr/>
        <a:lstStyle/>
        <a:p>
          <a:r>
            <a:rPr lang="pl-PL" dirty="0"/>
            <a:t>Test Case</a:t>
          </a:r>
          <a:endParaRPr lang="en-US" dirty="0"/>
        </a:p>
      </dgm:t>
    </dgm:pt>
    <dgm:pt modelId="{AA1DE5CD-1AFF-4563-AA10-37B95347A58F}" type="parTrans" cxnId="{38F71433-12B2-48A7-A2ED-357725926FA8}">
      <dgm:prSet/>
      <dgm:spPr/>
      <dgm:t>
        <a:bodyPr/>
        <a:lstStyle/>
        <a:p>
          <a:endParaRPr lang="en-US"/>
        </a:p>
      </dgm:t>
    </dgm:pt>
    <dgm:pt modelId="{D8DC02CA-9F82-4F4B-82A5-410263EFCC4F}" type="sibTrans" cxnId="{38F71433-12B2-48A7-A2ED-357725926FA8}">
      <dgm:prSet/>
      <dgm:spPr/>
      <dgm:t>
        <a:bodyPr/>
        <a:lstStyle/>
        <a:p>
          <a:endParaRPr lang="en-US"/>
        </a:p>
      </dgm:t>
    </dgm:pt>
    <dgm:pt modelId="{995DABD4-8AE1-4FC5-B2FB-A4C735D66786}">
      <dgm:prSet phldrT="[Text]" custT="1"/>
      <dgm:spPr/>
      <dgm:t>
        <a:bodyPr/>
        <a:lstStyle/>
        <a:p>
          <a:r>
            <a:rPr lang="pl-PL" sz="1600" dirty="0" err="1"/>
            <a:t>Internal</a:t>
          </a:r>
          <a:r>
            <a:rPr lang="pl-PL" sz="1600" dirty="0"/>
            <a:t> data </a:t>
          </a:r>
          <a:r>
            <a:rPr lang="pl-PL" sz="1600" dirty="0" err="1"/>
            <a:t>feed</a:t>
          </a:r>
          <a:endParaRPr lang="en-US" sz="1600" dirty="0"/>
        </a:p>
      </dgm:t>
    </dgm:pt>
    <dgm:pt modelId="{57F092DE-83AD-42F0-A587-89C8BDA1816D}" type="parTrans" cxnId="{4E623656-37D5-4A84-90F7-B60B29D2742F}">
      <dgm:prSet/>
      <dgm:spPr/>
      <dgm:t>
        <a:bodyPr/>
        <a:lstStyle/>
        <a:p>
          <a:endParaRPr lang="en-US"/>
        </a:p>
      </dgm:t>
    </dgm:pt>
    <dgm:pt modelId="{F07233CE-7EE9-415C-A25B-1557F16919B3}" type="sibTrans" cxnId="{4E623656-37D5-4A84-90F7-B60B29D2742F}">
      <dgm:prSet/>
      <dgm:spPr/>
      <dgm:t>
        <a:bodyPr/>
        <a:lstStyle/>
        <a:p>
          <a:endParaRPr lang="en-US"/>
        </a:p>
      </dgm:t>
    </dgm:pt>
    <dgm:pt modelId="{B91426AF-1EF7-4E4C-9649-3820AB3AFA6F}">
      <dgm:prSet phldrT="[Text]" custT="1"/>
      <dgm:spPr/>
      <dgm:t>
        <a:bodyPr/>
        <a:lstStyle/>
        <a:p>
          <a:r>
            <a:rPr lang="pl-PL" sz="1800" dirty="0" err="1"/>
            <a:t>External</a:t>
          </a:r>
          <a:r>
            <a:rPr lang="pl-PL" sz="1800" dirty="0"/>
            <a:t> data </a:t>
          </a:r>
          <a:r>
            <a:rPr lang="pl-PL" sz="1800" dirty="0" err="1"/>
            <a:t>feed</a:t>
          </a:r>
          <a:endParaRPr lang="pl-PL" sz="1800" dirty="0"/>
        </a:p>
      </dgm:t>
    </dgm:pt>
    <dgm:pt modelId="{0726F295-FD90-4F37-A258-41AC7E92709A}" type="parTrans" cxnId="{390FB398-AFEF-45E1-A774-E865D1FF5EB1}">
      <dgm:prSet/>
      <dgm:spPr/>
      <dgm:t>
        <a:bodyPr/>
        <a:lstStyle/>
        <a:p>
          <a:endParaRPr lang="en-US"/>
        </a:p>
      </dgm:t>
    </dgm:pt>
    <dgm:pt modelId="{A7F688AC-5312-4FA5-9111-48C27FE011C9}" type="sibTrans" cxnId="{390FB398-AFEF-45E1-A774-E865D1FF5EB1}">
      <dgm:prSet/>
      <dgm:spPr/>
      <dgm:t>
        <a:bodyPr/>
        <a:lstStyle/>
        <a:p>
          <a:endParaRPr lang="en-US"/>
        </a:p>
      </dgm:t>
    </dgm:pt>
    <dgm:pt modelId="{C9C0D3B8-32C5-4F1B-A957-45BA099E8286}">
      <dgm:prSet phldrT="[Text]"/>
      <dgm:spPr/>
      <dgm:t>
        <a:bodyPr/>
        <a:lstStyle/>
        <a:p>
          <a:r>
            <a:rPr lang="pl-PL" dirty="0"/>
            <a:t>As a $</a:t>
          </a:r>
          <a:r>
            <a:rPr lang="pl-PL" dirty="0" err="1"/>
            <a:t>user</a:t>
          </a:r>
          <a:r>
            <a:rPr lang="pl-PL" dirty="0"/>
            <a:t> I </a:t>
          </a:r>
          <a:r>
            <a:rPr lang="pl-PL" dirty="0" err="1"/>
            <a:t>should</a:t>
          </a:r>
          <a:r>
            <a:rPr lang="pl-PL" dirty="0"/>
            <a:t> ….</a:t>
          </a:r>
          <a:endParaRPr lang="en-US" dirty="0"/>
        </a:p>
      </dgm:t>
    </dgm:pt>
    <dgm:pt modelId="{789A0090-FFC4-4592-9653-B791DD563D51}" type="parTrans" cxnId="{EC82D757-CEAA-4B38-9346-0F3F2D1D56DF}">
      <dgm:prSet/>
      <dgm:spPr/>
      <dgm:t>
        <a:bodyPr/>
        <a:lstStyle/>
        <a:p>
          <a:endParaRPr lang="en-US"/>
        </a:p>
      </dgm:t>
    </dgm:pt>
    <dgm:pt modelId="{E0624623-F619-420A-B166-0BA6A11B8081}" type="sibTrans" cxnId="{EC82D757-CEAA-4B38-9346-0F3F2D1D56DF}">
      <dgm:prSet/>
      <dgm:spPr/>
      <dgm:t>
        <a:bodyPr/>
        <a:lstStyle/>
        <a:p>
          <a:endParaRPr lang="en-US"/>
        </a:p>
      </dgm:t>
    </dgm:pt>
    <dgm:pt modelId="{B64C878D-08BF-447A-BFBF-AA3A41478199}">
      <dgm:prSet phldrT="[Text]"/>
      <dgm:spPr/>
      <dgm:t>
        <a:bodyPr/>
        <a:lstStyle/>
        <a:p>
          <a:r>
            <a:rPr lang="pl-PL" dirty="0" err="1"/>
            <a:t>Result</a:t>
          </a:r>
          <a:r>
            <a:rPr lang="pl-PL" dirty="0"/>
            <a:t> </a:t>
          </a:r>
          <a:r>
            <a:rPr lang="pl-PL" dirty="0" err="1"/>
            <a:t>validation</a:t>
          </a:r>
          <a:endParaRPr lang="en-US" dirty="0"/>
        </a:p>
      </dgm:t>
    </dgm:pt>
    <dgm:pt modelId="{0459AC7B-FFC6-41D5-8FBD-21B8FA10CD7D}" type="parTrans" cxnId="{3089F7D0-AD6B-4706-9D70-BC6FFE697431}">
      <dgm:prSet/>
      <dgm:spPr/>
      <dgm:t>
        <a:bodyPr/>
        <a:lstStyle/>
        <a:p>
          <a:endParaRPr lang="en-US"/>
        </a:p>
      </dgm:t>
    </dgm:pt>
    <dgm:pt modelId="{C49BD982-AC16-4A3E-A9C7-32C14BF7CA12}" type="sibTrans" cxnId="{3089F7D0-AD6B-4706-9D70-BC6FFE697431}">
      <dgm:prSet/>
      <dgm:spPr/>
      <dgm:t>
        <a:bodyPr/>
        <a:lstStyle/>
        <a:p>
          <a:endParaRPr lang="en-US"/>
        </a:p>
      </dgm:t>
    </dgm:pt>
    <dgm:pt modelId="{BA1C2298-1362-4483-BFE1-E4DF528AC971}">
      <dgm:prSet phldrT="[Text]" custT="1"/>
      <dgm:spPr/>
      <dgm:t>
        <a:bodyPr/>
        <a:lstStyle/>
        <a:p>
          <a:r>
            <a:rPr lang="pl-PL" sz="1200" dirty="0"/>
            <a:t>File</a:t>
          </a:r>
        </a:p>
      </dgm:t>
    </dgm:pt>
    <dgm:pt modelId="{58F54241-B2B1-440B-90BC-B3FB72F94820}" type="parTrans" cxnId="{7E901045-1587-471C-A5B9-A0A30EDFA71F}">
      <dgm:prSet/>
      <dgm:spPr/>
      <dgm:t>
        <a:bodyPr/>
        <a:lstStyle/>
        <a:p>
          <a:endParaRPr lang="en-US"/>
        </a:p>
      </dgm:t>
    </dgm:pt>
    <dgm:pt modelId="{5B143895-A820-41AD-B716-3EC8F1C2F83E}" type="sibTrans" cxnId="{7E901045-1587-471C-A5B9-A0A30EDFA71F}">
      <dgm:prSet/>
      <dgm:spPr/>
      <dgm:t>
        <a:bodyPr/>
        <a:lstStyle/>
        <a:p>
          <a:endParaRPr lang="en-US"/>
        </a:p>
      </dgm:t>
    </dgm:pt>
    <dgm:pt modelId="{BCFF6C72-6E22-4EEB-AAE5-7FE8E86B8D66}">
      <dgm:prSet phldrT="[Text]" custT="1"/>
      <dgm:spPr/>
      <dgm:t>
        <a:bodyPr/>
        <a:lstStyle/>
        <a:p>
          <a:r>
            <a:rPr lang="pl-PL" sz="1200" dirty="0"/>
            <a:t>Data Base</a:t>
          </a:r>
        </a:p>
      </dgm:t>
    </dgm:pt>
    <dgm:pt modelId="{31A2742A-6164-4C36-B10A-C502F7EB6ED6}" type="parTrans" cxnId="{CE92298D-F4E1-4148-8A6A-20170122FF3F}">
      <dgm:prSet/>
      <dgm:spPr/>
      <dgm:t>
        <a:bodyPr/>
        <a:lstStyle/>
        <a:p>
          <a:endParaRPr lang="en-US"/>
        </a:p>
      </dgm:t>
    </dgm:pt>
    <dgm:pt modelId="{DE3F4305-1900-4254-B17C-A24DABD36436}" type="sibTrans" cxnId="{CE92298D-F4E1-4148-8A6A-20170122FF3F}">
      <dgm:prSet/>
      <dgm:spPr/>
      <dgm:t>
        <a:bodyPr/>
        <a:lstStyle/>
        <a:p>
          <a:endParaRPr lang="en-US"/>
        </a:p>
      </dgm:t>
    </dgm:pt>
    <dgm:pt modelId="{2ECFD80B-5093-497D-83FE-2D2E7EFFBED0}">
      <dgm:prSet phldrT="[Text]" custT="1"/>
      <dgm:spPr/>
      <dgm:t>
        <a:bodyPr/>
        <a:lstStyle/>
        <a:p>
          <a:r>
            <a:rPr lang="pl-PL" sz="1200" dirty="0"/>
            <a:t>API</a:t>
          </a:r>
        </a:p>
      </dgm:t>
    </dgm:pt>
    <dgm:pt modelId="{86020166-92B2-49EA-A14D-A9A1855CEC88}" type="parTrans" cxnId="{13EB7F2C-D1FA-443D-A91C-BFFA89767585}">
      <dgm:prSet/>
      <dgm:spPr/>
      <dgm:t>
        <a:bodyPr/>
        <a:lstStyle/>
        <a:p>
          <a:endParaRPr lang="en-US"/>
        </a:p>
      </dgm:t>
    </dgm:pt>
    <dgm:pt modelId="{C7B87BF5-405A-45C6-93F3-9F66BABB9435}" type="sibTrans" cxnId="{13EB7F2C-D1FA-443D-A91C-BFFA89767585}">
      <dgm:prSet/>
      <dgm:spPr/>
      <dgm:t>
        <a:bodyPr/>
        <a:lstStyle/>
        <a:p>
          <a:endParaRPr lang="en-US"/>
        </a:p>
      </dgm:t>
    </dgm:pt>
    <dgm:pt modelId="{0E4BB0EE-6DCD-4288-B6B3-7AE5529347AE}">
      <dgm:prSet phldrT="[Text]" custT="1"/>
      <dgm:spPr/>
      <dgm:t>
        <a:bodyPr/>
        <a:lstStyle/>
        <a:p>
          <a:r>
            <a:rPr lang="pl-PL" sz="1100" dirty="0"/>
            <a:t>Data </a:t>
          </a:r>
          <a:r>
            <a:rPr lang="pl-PL" sz="1100" dirty="0" err="1"/>
            <a:t>table</a:t>
          </a:r>
          <a:endParaRPr lang="en-US" sz="1100" dirty="0"/>
        </a:p>
      </dgm:t>
    </dgm:pt>
    <dgm:pt modelId="{AD6E30B4-70FC-4F69-801F-5FD49331071B}" type="parTrans" cxnId="{44A28DB0-1CF8-4AFE-AFC4-A685FD25933D}">
      <dgm:prSet/>
      <dgm:spPr/>
      <dgm:t>
        <a:bodyPr/>
        <a:lstStyle/>
        <a:p>
          <a:endParaRPr lang="en-US"/>
        </a:p>
      </dgm:t>
    </dgm:pt>
    <dgm:pt modelId="{8921D53F-7039-4715-AD5D-BCECD1C0214D}" type="sibTrans" cxnId="{44A28DB0-1CF8-4AFE-AFC4-A685FD25933D}">
      <dgm:prSet/>
      <dgm:spPr/>
      <dgm:t>
        <a:bodyPr/>
        <a:lstStyle/>
        <a:p>
          <a:endParaRPr lang="en-US"/>
        </a:p>
      </dgm:t>
    </dgm:pt>
    <dgm:pt modelId="{2121DDC0-3AB4-4491-A79A-2A844794546A}" type="pres">
      <dgm:prSet presAssocID="{085DC594-96EA-4600-8302-5104C95412AC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</dgm:pt>
    <dgm:pt modelId="{A15C04E1-1F35-474D-9584-DEEAFFB37109}" type="pres">
      <dgm:prSet presAssocID="{085DC594-96EA-4600-8302-5104C95412AC}" presName="arc1" presStyleLbl="node1" presStyleIdx="0" presStyleCnt="4"/>
      <dgm:spPr/>
    </dgm:pt>
    <dgm:pt modelId="{C6BCD574-0FA7-429A-8BBD-1C0EBC761359}" type="pres">
      <dgm:prSet presAssocID="{085DC594-96EA-4600-8302-5104C95412AC}" presName="arc3" presStyleLbl="node1" presStyleIdx="1" presStyleCnt="4"/>
      <dgm:spPr/>
    </dgm:pt>
    <dgm:pt modelId="{1D79ABD8-E68D-4FBB-B000-1246D223AC76}" type="pres">
      <dgm:prSet presAssocID="{085DC594-96EA-4600-8302-5104C95412AC}" presName="parentText2" presStyleLbl="revTx" presStyleIdx="0" presStyleCnt="3">
        <dgm:presLayoutVars>
          <dgm:chMax val="4"/>
          <dgm:chPref val="3"/>
          <dgm:bulletEnabled val="1"/>
        </dgm:presLayoutVars>
      </dgm:prSet>
      <dgm:spPr/>
    </dgm:pt>
    <dgm:pt modelId="{54E02888-B6B8-4216-B09F-2B325AC78DB9}" type="pres">
      <dgm:prSet presAssocID="{085DC594-96EA-4600-8302-5104C95412AC}" presName="arc2" presStyleLbl="node1" presStyleIdx="2" presStyleCnt="4"/>
      <dgm:spPr/>
    </dgm:pt>
    <dgm:pt modelId="{C3A24F46-C32B-4686-9C85-0D9041815A10}" type="pres">
      <dgm:prSet presAssocID="{085DC594-96EA-4600-8302-5104C95412AC}" presName="arc4" presStyleLbl="node1" presStyleIdx="3" presStyleCnt="4"/>
      <dgm:spPr/>
    </dgm:pt>
    <dgm:pt modelId="{21646570-A412-4923-9FAD-FF3735EC1263}" type="pres">
      <dgm:prSet presAssocID="{085DC594-96EA-4600-8302-5104C95412AC}" presName="parentText3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F88AF35D-6B09-4606-BE9F-C9A959AE3D8D}" type="pres">
      <dgm:prSet presAssocID="{085DC594-96EA-4600-8302-5104C95412AC}" presName="middleComposite" presStyleCnt="0"/>
      <dgm:spPr/>
    </dgm:pt>
    <dgm:pt modelId="{55923353-1891-4C3C-93A2-DC1C2A904F6E}" type="pres">
      <dgm:prSet presAssocID="{C9C0D3B8-32C5-4F1B-A957-45BA099E8286}" presName="circ1" presStyleLbl="vennNode1" presStyleIdx="0" presStyleCnt="6"/>
      <dgm:spPr/>
    </dgm:pt>
    <dgm:pt modelId="{2B85B1D3-9363-44F7-98D1-C878E2338483}" type="pres">
      <dgm:prSet presAssocID="{C9C0D3B8-32C5-4F1B-A957-45BA099E8286}" presName="circ1Tx" presStyleLbl="revTx" presStyleIdx="1" presStyleCnt="3">
        <dgm:presLayoutVars>
          <dgm:chMax val="0"/>
          <dgm:chPref val="0"/>
        </dgm:presLayoutVars>
      </dgm:prSet>
      <dgm:spPr/>
    </dgm:pt>
    <dgm:pt modelId="{4ADD056A-67D6-431A-9581-04DAB264D90D}" type="pres">
      <dgm:prSet presAssocID="{085DC594-96EA-4600-8302-5104C95412AC}" presName="leftComposite" presStyleCnt="0"/>
      <dgm:spPr/>
    </dgm:pt>
    <dgm:pt modelId="{37FF8F7C-333B-4D15-A0BA-1767EE597530}" type="pres">
      <dgm:prSet presAssocID="{995DABD4-8AE1-4FC5-B2FB-A4C735D66786}" presName="childText1_1" presStyleLbl="vennNode1" presStyleIdx="1" presStyleCnt="6" custScaleX="154631" custScaleY="145141" custLinFactNeighborX="-5557" custLinFactNeighborY="-39006">
        <dgm:presLayoutVars>
          <dgm:chMax val="0"/>
          <dgm:chPref val="0"/>
        </dgm:presLayoutVars>
      </dgm:prSet>
      <dgm:spPr/>
    </dgm:pt>
    <dgm:pt modelId="{0DF5AA57-5871-4FC6-A05D-E337C20D1C24}" type="pres">
      <dgm:prSet presAssocID="{995DABD4-8AE1-4FC5-B2FB-A4C735D66786}" presName="ellipse1" presStyleLbl="vennNode1" presStyleIdx="2" presStyleCnt="6" custLinFactNeighborX="-12936" custLinFactNeighborY="-39637"/>
      <dgm:spPr/>
    </dgm:pt>
    <dgm:pt modelId="{B4E6D8BC-88C3-484A-A04E-CA1D5EC2F418}" type="pres">
      <dgm:prSet presAssocID="{995DABD4-8AE1-4FC5-B2FB-A4C735D66786}" presName="ellipse2" presStyleLbl="vennNode1" presStyleIdx="3" presStyleCnt="6" custLinFactNeighborX="-2120" custLinFactNeighborY="-76380"/>
      <dgm:spPr/>
    </dgm:pt>
    <dgm:pt modelId="{29F286A2-6500-4451-9801-784E0E238C88}" type="pres">
      <dgm:prSet presAssocID="{B91426AF-1EF7-4E4C-9649-3820AB3AFA6F}" presName="childText1_2" presStyleLbl="vennNode1" presStyleIdx="4" presStyleCnt="6" custScaleX="170339" custScaleY="162373" custLinFactNeighborX="-21868" custLinFactNeighborY="2925">
        <dgm:presLayoutVars>
          <dgm:chMax val="0"/>
          <dgm:chPref val="0"/>
        </dgm:presLayoutVars>
      </dgm:prSet>
      <dgm:spPr/>
    </dgm:pt>
    <dgm:pt modelId="{10565103-9B5D-4DEC-AF4D-215B4B37ED14}" type="pres">
      <dgm:prSet presAssocID="{B91426AF-1EF7-4E4C-9649-3820AB3AFA6F}" presName="ellipse3" presStyleLbl="vennNode1" presStyleIdx="5" presStyleCnt="6" custLinFactX="-100000" custLinFactNeighborX="-191309" custLinFactNeighborY="-12042"/>
      <dgm:spPr/>
    </dgm:pt>
    <dgm:pt modelId="{C0A218D2-2BC9-42F7-A164-67C48A50EB49}" type="pres">
      <dgm:prSet presAssocID="{085DC594-96EA-4600-8302-5104C95412AC}" presName="rightChild" presStyleLbl="node2" presStyleIdx="0" presStyleCnt="1">
        <dgm:presLayoutVars>
          <dgm:chMax val="0"/>
          <dgm:chPref val="0"/>
        </dgm:presLayoutVars>
      </dgm:prSet>
      <dgm:spPr/>
    </dgm:pt>
    <dgm:pt modelId="{C3C2EC7B-4363-4717-86AB-00666DE341D1}" type="pres">
      <dgm:prSet presAssocID="{085DC594-96EA-4600-8302-5104C95412AC}" presName="parentText1" presStyleLbl="revTx" presStyleIdx="2" presStyleCnt="3">
        <dgm:presLayoutVars>
          <dgm:chMax val="4"/>
          <dgm:chPref val="3"/>
          <dgm:bulletEnabled val="1"/>
        </dgm:presLayoutVars>
      </dgm:prSet>
      <dgm:spPr/>
    </dgm:pt>
  </dgm:ptLst>
  <dgm:cxnLst>
    <dgm:cxn modelId="{7CE17306-6E95-4199-9283-A2C05E0B364E}" type="presOf" srcId="{995DABD4-8AE1-4FC5-B2FB-A4C735D66786}" destId="{37FF8F7C-333B-4D15-A0BA-1767EE597530}" srcOrd="0" destOrd="0" presId="urn:microsoft.com/office/officeart/2009/3/layout/PhasedProcess"/>
    <dgm:cxn modelId="{D33CA20B-A5E1-485C-9F57-BCA7B756C1FB}" type="presOf" srcId="{BA1C2298-1362-4483-BFE1-E4DF528AC971}" destId="{29F286A2-6500-4451-9801-784E0E238C88}" srcOrd="0" destOrd="1" presId="urn:microsoft.com/office/officeart/2009/3/layout/PhasedProcess"/>
    <dgm:cxn modelId="{13EB7F2C-D1FA-443D-A91C-BFFA89767585}" srcId="{B91426AF-1EF7-4E4C-9649-3820AB3AFA6F}" destId="{2ECFD80B-5093-497D-83FE-2D2E7EFFBED0}" srcOrd="2" destOrd="0" parTransId="{86020166-92B2-49EA-A14D-A9A1855CEC88}" sibTransId="{C7B87BF5-405A-45C6-93F3-9F66BABB9435}"/>
    <dgm:cxn modelId="{38F71433-12B2-48A7-A2ED-357725926FA8}" srcId="{085DC594-96EA-4600-8302-5104C95412AC}" destId="{1D92B933-79DB-4CEC-BEC8-807BE4E36A7D}" srcOrd="2" destOrd="0" parTransId="{AA1DE5CD-1AFF-4563-AA10-37B95347A58F}" sibTransId="{D8DC02CA-9F82-4F4B-82A5-410263EFCC4F}"/>
    <dgm:cxn modelId="{82F99C5B-011C-451B-B57B-2975F9AA86E8}" type="presOf" srcId="{BCFF6C72-6E22-4EEB-AAE5-7FE8E86B8D66}" destId="{29F286A2-6500-4451-9801-784E0E238C88}" srcOrd="0" destOrd="2" presId="urn:microsoft.com/office/officeart/2009/3/layout/PhasedProcess"/>
    <dgm:cxn modelId="{7E901045-1587-471C-A5B9-A0A30EDFA71F}" srcId="{B91426AF-1EF7-4E4C-9649-3820AB3AFA6F}" destId="{BA1C2298-1362-4483-BFE1-E4DF528AC971}" srcOrd="0" destOrd="0" parTransId="{58F54241-B2B1-440B-90BC-B3FB72F94820}" sibTransId="{5B143895-A820-41AD-B716-3EC8F1C2F83E}"/>
    <dgm:cxn modelId="{707C8269-1170-49D0-B0C3-E2D6612096EB}" srcId="{085DC594-96EA-4600-8302-5104C95412AC}" destId="{F43247B5-DF60-4A7C-9567-53AC6F8236D1}" srcOrd="0" destOrd="0" parTransId="{ECE1BAF5-DC31-4375-88A2-AAC5B527BBD9}" sibTransId="{13806D78-CC7F-4EB7-8380-EE6C6817DF49}"/>
    <dgm:cxn modelId="{85A01D4E-DD7A-498E-B7D4-AA7FC1A14BC5}" type="presOf" srcId="{0E4BB0EE-6DCD-4288-B6B3-7AE5529347AE}" destId="{37FF8F7C-333B-4D15-A0BA-1767EE597530}" srcOrd="0" destOrd="1" presId="urn:microsoft.com/office/officeart/2009/3/layout/PhasedProcess"/>
    <dgm:cxn modelId="{12E08955-CAE6-4176-86AD-A8486771A9CE}" type="presOf" srcId="{2ECFD80B-5093-497D-83FE-2D2E7EFFBED0}" destId="{29F286A2-6500-4451-9801-784E0E238C88}" srcOrd="0" destOrd="3" presId="urn:microsoft.com/office/officeart/2009/3/layout/PhasedProcess"/>
    <dgm:cxn modelId="{4E623656-37D5-4A84-90F7-B60B29D2742F}" srcId="{F43247B5-DF60-4A7C-9567-53AC6F8236D1}" destId="{995DABD4-8AE1-4FC5-B2FB-A4C735D66786}" srcOrd="0" destOrd="0" parTransId="{57F092DE-83AD-42F0-A587-89C8BDA1816D}" sibTransId="{F07233CE-7EE9-415C-A25B-1557F16919B3}"/>
    <dgm:cxn modelId="{EC82D757-CEAA-4B38-9346-0F3F2D1D56DF}" srcId="{313F3428-8DC9-4E91-B9E6-1AD5D5C70925}" destId="{C9C0D3B8-32C5-4F1B-A957-45BA099E8286}" srcOrd="0" destOrd="0" parTransId="{789A0090-FFC4-4592-9653-B791DD563D51}" sibTransId="{E0624623-F619-420A-B166-0BA6A11B8081}"/>
    <dgm:cxn modelId="{A342B87A-6993-45F0-9C55-F7A4508F68D6}" type="presOf" srcId="{B64C878D-08BF-447A-BFBF-AA3A41478199}" destId="{C0A218D2-2BC9-42F7-A164-67C48A50EB49}" srcOrd="0" destOrd="0" presId="urn:microsoft.com/office/officeart/2009/3/layout/PhasedProcess"/>
    <dgm:cxn modelId="{E035D17D-8F7B-44FD-BB67-EE40BF323E37}" type="presOf" srcId="{C9C0D3B8-32C5-4F1B-A957-45BA099E8286}" destId="{2B85B1D3-9363-44F7-98D1-C878E2338483}" srcOrd="1" destOrd="0" presId="urn:microsoft.com/office/officeart/2009/3/layout/PhasedProcess"/>
    <dgm:cxn modelId="{CE92298D-F4E1-4148-8A6A-20170122FF3F}" srcId="{B91426AF-1EF7-4E4C-9649-3820AB3AFA6F}" destId="{BCFF6C72-6E22-4EEB-AAE5-7FE8E86B8D66}" srcOrd="1" destOrd="0" parTransId="{31A2742A-6164-4C36-B10A-C502F7EB6ED6}" sibTransId="{DE3F4305-1900-4254-B17C-A24DABD36436}"/>
    <dgm:cxn modelId="{EB641A94-71E4-4DAC-AB1C-BC1A102C19C5}" type="presOf" srcId="{C9C0D3B8-32C5-4F1B-A957-45BA099E8286}" destId="{55923353-1891-4C3C-93A2-DC1C2A904F6E}" srcOrd="0" destOrd="0" presId="urn:microsoft.com/office/officeart/2009/3/layout/PhasedProcess"/>
    <dgm:cxn modelId="{390FB398-AFEF-45E1-A774-E865D1FF5EB1}" srcId="{F43247B5-DF60-4A7C-9567-53AC6F8236D1}" destId="{B91426AF-1EF7-4E4C-9649-3820AB3AFA6F}" srcOrd="1" destOrd="0" parTransId="{0726F295-FD90-4F37-A258-41AC7E92709A}" sibTransId="{A7F688AC-5312-4FA5-9111-48C27FE011C9}"/>
    <dgm:cxn modelId="{240751A2-9FEF-46F4-A10E-10038831DC90}" type="presOf" srcId="{313F3428-8DC9-4E91-B9E6-1AD5D5C70925}" destId="{1D79ABD8-E68D-4FBB-B000-1246D223AC76}" srcOrd="0" destOrd="0" presId="urn:microsoft.com/office/officeart/2009/3/layout/PhasedProcess"/>
    <dgm:cxn modelId="{44A28DB0-1CF8-4AFE-AFC4-A685FD25933D}" srcId="{995DABD4-8AE1-4FC5-B2FB-A4C735D66786}" destId="{0E4BB0EE-6DCD-4288-B6B3-7AE5529347AE}" srcOrd="0" destOrd="0" parTransId="{AD6E30B4-70FC-4F69-801F-5FD49331071B}" sibTransId="{8921D53F-7039-4715-AD5D-BCECD1C0214D}"/>
    <dgm:cxn modelId="{FF2D59BD-9E63-4872-9208-51522BCDD5E5}" type="presOf" srcId="{F43247B5-DF60-4A7C-9567-53AC6F8236D1}" destId="{C3C2EC7B-4363-4717-86AB-00666DE341D1}" srcOrd="0" destOrd="0" presId="urn:microsoft.com/office/officeart/2009/3/layout/PhasedProcess"/>
    <dgm:cxn modelId="{FF288DC3-1771-4119-A9A0-0F2DE9D822C8}" srcId="{085DC594-96EA-4600-8302-5104C95412AC}" destId="{313F3428-8DC9-4E91-B9E6-1AD5D5C70925}" srcOrd="1" destOrd="0" parTransId="{4513228D-C182-4710-BC4E-8EFB118440F4}" sibTransId="{F4EEE02C-E198-400F-8CD4-15DDA0C75647}"/>
    <dgm:cxn modelId="{5D1ED1C5-04AA-4F7E-AE3D-820D6F06E9C4}" type="presOf" srcId="{085DC594-96EA-4600-8302-5104C95412AC}" destId="{2121DDC0-3AB4-4491-A79A-2A844794546A}" srcOrd="0" destOrd="0" presId="urn:microsoft.com/office/officeart/2009/3/layout/PhasedProcess"/>
    <dgm:cxn modelId="{010EE6CF-7225-4900-AA22-307367C3816D}" type="presOf" srcId="{1D92B933-79DB-4CEC-BEC8-807BE4E36A7D}" destId="{21646570-A412-4923-9FAD-FF3735EC1263}" srcOrd="0" destOrd="0" presId="urn:microsoft.com/office/officeart/2009/3/layout/PhasedProcess"/>
    <dgm:cxn modelId="{3089F7D0-AD6B-4706-9D70-BC6FFE697431}" srcId="{1D92B933-79DB-4CEC-BEC8-807BE4E36A7D}" destId="{B64C878D-08BF-447A-BFBF-AA3A41478199}" srcOrd="0" destOrd="0" parTransId="{0459AC7B-FFC6-41D5-8FBD-21B8FA10CD7D}" sibTransId="{C49BD982-AC16-4A3E-A9C7-32C14BF7CA12}"/>
    <dgm:cxn modelId="{3C56ECEE-5BE8-43FC-95AA-F57CDB208F2D}" type="presOf" srcId="{B91426AF-1EF7-4E4C-9649-3820AB3AFA6F}" destId="{29F286A2-6500-4451-9801-784E0E238C88}" srcOrd="0" destOrd="0" presId="urn:microsoft.com/office/officeart/2009/3/layout/PhasedProcess"/>
    <dgm:cxn modelId="{705AD7EA-67A8-4619-9DFA-696287F294FC}" type="presParOf" srcId="{2121DDC0-3AB4-4491-A79A-2A844794546A}" destId="{A15C04E1-1F35-474D-9584-DEEAFFB37109}" srcOrd="0" destOrd="0" presId="urn:microsoft.com/office/officeart/2009/3/layout/PhasedProcess"/>
    <dgm:cxn modelId="{AAD8F93B-0B55-46CC-8C2B-E3B8FC2019E6}" type="presParOf" srcId="{2121DDC0-3AB4-4491-A79A-2A844794546A}" destId="{C6BCD574-0FA7-429A-8BBD-1C0EBC761359}" srcOrd="1" destOrd="0" presId="urn:microsoft.com/office/officeart/2009/3/layout/PhasedProcess"/>
    <dgm:cxn modelId="{909E16BE-1556-49F2-93D0-388C38EBF255}" type="presParOf" srcId="{2121DDC0-3AB4-4491-A79A-2A844794546A}" destId="{1D79ABD8-E68D-4FBB-B000-1246D223AC76}" srcOrd="2" destOrd="0" presId="urn:microsoft.com/office/officeart/2009/3/layout/PhasedProcess"/>
    <dgm:cxn modelId="{FFF171BE-831C-4230-A518-B489E327B8D4}" type="presParOf" srcId="{2121DDC0-3AB4-4491-A79A-2A844794546A}" destId="{54E02888-B6B8-4216-B09F-2B325AC78DB9}" srcOrd="3" destOrd="0" presId="urn:microsoft.com/office/officeart/2009/3/layout/PhasedProcess"/>
    <dgm:cxn modelId="{259DF374-11A2-4AA4-AC8C-AF49B0B36B5B}" type="presParOf" srcId="{2121DDC0-3AB4-4491-A79A-2A844794546A}" destId="{C3A24F46-C32B-4686-9C85-0D9041815A10}" srcOrd="4" destOrd="0" presId="urn:microsoft.com/office/officeart/2009/3/layout/PhasedProcess"/>
    <dgm:cxn modelId="{4EF07FA9-D081-4581-8D5F-165AE5ECB86F}" type="presParOf" srcId="{2121DDC0-3AB4-4491-A79A-2A844794546A}" destId="{21646570-A412-4923-9FAD-FF3735EC1263}" srcOrd="5" destOrd="0" presId="urn:microsoft.com/office/officeart/2009/3/layout/PhasedProcess"/>
    <dgm:cxn modelId="{BB7DF60D-33D6-4386-BCCA-C81234F50010}" type="presParOf" srcId="{2121DDC0-3AB4-4491-A79A-2A844794546A}" destId="{F88AF35D-6B09-4606-BE9F-C9A959AE3D8D}" srcOrd="6" destOrd="0" presId="urn:microsoft.com/office/officeart/2009/3/layout/PhasedProcess"/>
    <dgm:cxn modelId="{4C9633F8-5A2B-45EA-8356-EE5C209024E5}" type="presParOf" srcId="{F88AF35D-6B09-4606-BE9F-C9A959AE3D8D}" destId="{55923353-1891-4C3C-93A2-DC1C2A904F6E}" srcOrd="0" destOrd="0" presId="urn:microsoft.com/office/officeart/2009/3/layout/PhasedProcess"/>
    <dgm:cxn modelId="{4252DA47-AE3A-4505-8B83-119E9ABCAA71}" type="presParOf" srcId="{F88AF35D-6B09-4606-BE9F-C9A959AE3D8D}" destId="{2B85B1D3-9363-44F7-98D1-C878E2338483}" srcOrd="1" destOrd="0" presId="urn:microsoft.com/office/officeart/2009/3/layout/PhasedProcess"/>
    <dgm:cxn modelId="{59B9435E-33C1-4953-8730-582308DDF3DB}" type="presParOf" srcId="{2121DDC0-3AB4-4491-A79A-2A844794546A}" destId="{4ADD056A-67D6-431A-9581-04DAB264D90D}" srcOrd="7" destOrd="0" presId="urn:microsoft.com/office/officeart/2009/3/layout/PhasedProcess"/>
    <dgm:cxn modelId="{579995BF-0D4B-4894-A44D-0D96E2DB5E03}" type="presParOf" srcId="{4ADD056A-67D6-431A-9581-04DAB264D90D}" destId="{37FF8F7C-333B-4D15-A0BA-1767EE597530}" srcOrd="0" destOrd="0" presId="urn:microsoft.com/office/officeart/2009/3/layout/PhasedProcess"/>
    <dgm:cxn modelId="{ABD203D0-8566-4AFF-A641-D0A3EB1B40AB}" type="presParOf" srcId="{4ADD056A-67D6-431A-9581-04DAB264D90D}" destId="{0DF5AA57-5871-4FC6-A05D-E337C20D1C24}" srcOrd="1" destOrd="0" presId="urn:microsoft.com/office/officeart/2009/3/layout/PhasedProcess"/>
    <dgm:cxn modelId="{B2E4485F-E1C3-495E-9AE1-5B3A2C97808E}" type="presParOf" srcId="{4ADD056A-67D6-431A-9581-04DAB264D90D}" destId="{B4E6D8BC-88C3-484A-A04E-CA1D5EC2F418}" srcOrd="2" destOrd="0" presId="urn:microsoft.com/office/officeart/2009/3/layout/PhasedProcess"/>
    <dgm:cxn modelId="{B3153CB0-5B1C-4075-BBF8-AABE3BAA4261}" type="presParOf" srcId="{4ADD056A-67D6-431A-9581-04DAB264D90D}" destId="{29F286A2-6500-4451-9801-784E0E238C88}" srcOrd="3" destOrd="0" presId="urn:microsoft.com/office/officeart/2009/3/layout/PhasedProcess"/>
    <dgm:cxn modelId="{960B2CD3-0AC0-49F3-9C8A-EF2322771AC0}" type="presParOf" srcId="{4ADD056A-67D6-431A-9581-04DAB264D90D}" destId="{10565103-9B5D-4DEC-AF4D-215B4B37ED14}" srcOrd="4" destOrd="0" presId="urn:microsoft.com/office/officeart/2009/3/layout/PhasedProcess"/>
    <dgm:cxn modelId="{B851A1DD-B412-49BE-A4B8-B2BB657A8BD2}" type="presParOf" srcId="{2121DDC0-3AB4-4491-A79A-2A844794546A}" destId="{C0A218D2-2BC9-42F7-A164-67C48A50EB49}" srcOrd="8" destOrd="0" presId="urn:microsoft.com/office/officeart/2009/3/layout/PhasedProcess"/>
    <dgm:cxn modelId="{710843C3-7713-4542-9FCB-2B9FDB19B6B3}" type="presParOf" srcId="{2121DDC0-3AB4-4491-A79A-2A844794546A}" destId="{C3C2EC7B-4363-4717-86AB-00666DE341D1}" srcOrd="9" destOrd="0" presId="urn:microsoft.com/office/officeart/2009/3/layout/Phased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C9B4A08C-1163-42BE-A69D-2390409B65DC}" type="doc">
      <dgm:prSet loTypeId="urn:microsoft.com/office/officeart/2005/8/layout/radial3" loCatId="relationship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5DCD87BA-9270-4C55-B96D-2498ED9DE14C}">
      <dgm:prSet phldrT="[Text]"/>
      <dgm:spPr/>
      <dgm:t>
        <a:bodyPr/>
        <a:lstStyle/>
        <a:p>
          <a:r>
            <a:rPr lang="pl-PL" dirty="0"/>
            <a:t>Test </a:t>
          </a:r>
          <a:r>
            <a:rPr lang="pl-PL" dirty="0" err="1"/>
            <a:t>Case</a:t>
          </a:r>
          <a:endParaRPr lang="en-US" dirty="0"/>
        </a:p>
      </dgm:t>
    </dgm:pt>
    <dgm:pt modelId="{E901474F-4B6F-4C61-81D1-F92251F24366}" type="parTrans" cxnId="{ACFDC8D3-0083-4413-ADB4-97A3E00C4F33}">
      <dgm:prSet/>
      <dgm:spPr/>
      <dgm:t>
        <a:bodyPr/>
        <a:lstStyle/>
        <a:p>
          <a:endParaRPr lang="en-US"/>
        </a:p>
      </dgm:t>
    </dgm:pt>
    <dgm:pt modelId="{F869A069-3D59-413D-BCF6-EDF5CC27C94D}" type="sibTrans" cxnId="{ACFDC8D3-0083-4413-ADB4-97A3E00C4F33}">
      <dgm:prSet/>
      <dgm:spPr/>
      <dgm:t>
        <a:bodyPr/>
        <a:lstStyle/>
        <a:p>
          <a:endParaRPr lang="en-US"/>
        </a:p>
      </dgm:t>
    </dgm:pt>
    <dgm:pt modelId="{D37BD22F-54F6-4407-88DE-8816CDD38B93}">
      <dgm:prSet phldrT="[Text]"/>
      <dgm:spPr/>
      <dgm:t>
        <a:bodyPr/>
        <a:lstStyle/>
        <a:p>
          <a:r>
            <a:rPr lang="pl-PL" dirty="0"/>
            <a:t>QA</a:t>
          </a:r>
          <a:endParaRPr lang="en-US" dirty="0"/>
        </a:p>
      </dgm:t>
    </dgm:pt>
    <dgm:pt modelId="{A5274E43-074E-4834-936B-33EAFEA263A9}" type="parTrans" cxnId="{10EFD0E7-3ACD-4256-818F-BE0B4DD05A50}">
      <dgm:prSet/>
      <dgm:spPr/>
      <dgm:t>
        <a:bodyPr/>
        <a:lstStyle/>
        <a:p>
          <a:endParaRPr lang="en-US"/>
        </a:p>
      </dgm:t>
    </dgm:pt>
    <dgm:pt modelId="{26927B99-2B1A-4E78-A511-3D30BB28E2A0}" type="sibTrans" cxnId="{10EFD0E7-3ACD-4256-818F-BE0B4DD05A50}">
      <dgm:prSet/>
      <dgm:spPr/>
      <dgm:t>
        <a:bodyPr/>
        <a:lstStyle/>
        <a:p>
          <a:endParaRPr lang="en-US"/>
        </a:p>
      </dgm:t>
    </dgm:pt>
    <dgm:pt modelId="{69167282-2A96-483A-8D28-E59D5B852ACD}">
      <dgm:prSet phldrT="[Text]"/>
      <dgm:spPr/>
      <dgm:t>
        <a:bodyPr/>
        <a:lstStyle/>
        <a:p>
          <a:r>
            <a:rPr lang="pl-PL" dirty="0"/>
            <a:t>PROD</a:t>
          </a:r>
          <a:endParaRPr lang="en-US" dirty="0"/>
        </a:p>
      </dgm:t>
    </dgm:pt>
    <dgm:pt modelId="{DD0E7C68-B2E1-4D73-9C14-26303A099976}" type="parTrans" cxnId="{ECCC141C-1BE5-4874-BF9B-3C9EE7D268DE}">
      <dgm:prSet/>
      <dgm:spPr/>
      <dgm:t>
        <a:bodyPr/>
        <a:lstStyle/>
        <a:p>
          <a:endParaRPr lang="en-US"/>
        </a:p>
      </dgm:t>
    </dgm:pt>
    <dgm:pt modelId="{46E3B871-9560-4271-95C6-AC30BAC8B35B}" type="sibTrans" cxnId="{ECCC141C-1BE5-4874-BF9B-3C9EE7D268DE}">
      <dgm:prSet/>
      <dgm:spPr/>
      <dgm:t>
        <a:bodyPr/>
        <a:lstStyle/>
        <a:p>
          <a:endParaRPr lang="en-US"/>
        </a:p>
      </dgm:t>
    </dgm:pt>
    <dgm:pt modelId="{C6A1F86C-95FB-4841-ADE0-D2EF4550685C}">
      <dgm:prSet phldrT="[Text]"/>
      <dgm:spPr/>
      <dgm:t>
        <a:bodyPr/>
        <a:lstStyle/>
        <a:p>
          <a:r>
            <a:rPr lang="pl-PL" dirty="0"/>
            <a:t>DEV</a:t>
          </a:r>
          <a:endParaRPr lang="en-US" dirty="0"/>
        </a:p>
      </dgm:t>
    </dgm:pt>
    <dgm:pt modelId="{1365FC7D-1318-4326-9E89-F57881E7E5BD}" type="parTrans" cxnId="{1932F0F8-CDAA-46FF-9338-14B3D78E2910}">
      <dgm:prSet/>
      <dgm:spPr/>
      <dgm:t>
        <a:bodyPr/>
        <a:lstStyle/>
        <a:p>
          <a:endParaRPr lang="en-US"/>
        </a:p>
      </dgm:t>
    </dgm:pt>
    <dgm:pt modelId="{9925C6CA-191A-4E19-88BE-51EA50F7307F}" type="sibTrans" cxnId="{1932F0F8-CDAA-46FF-9338-14B3D78E2910}">
      <dgm:prSet/>
      <dgm:spPr/>
      <dgm:t>
        <a:bodyPr/>
        <a:lstStyle/>
        <a:p>
          <a:endParaRPr lang="en-US"/>
        </a:p>
      </dgm:t>
    </dgm:pt>
    <dgm:pt modelId="{0669B945-AED1-4AB1-8911-63897343F090}">
      <dgm:prSet phldrT="[Text]"/>
      <dgm:spPr/>
      <dgm:t>
        <a:bodyPr/>
        <a:lstStyle/>
        <a:p>
          <a:r>
            <a:rPr lang="pl-PL" dirty="0"/>
            <a:t>SIT</a:t>
          </a:r>
          <a:endParaRPr lang="en-US" dirty="0"/>
        </a:p>
      </dgm:t>
    </dgm:pt>
    <dgm:pt modelId="{1F035ACE-82A3-4645-9E87-D739EE075167}" type="parTrans" cxnId="{CE69965B-9CFD-4B23-827A-3740CA8D3182}">
      <dgm:prSet/>
      <dgm:spPr/>
      <dgm:t>
        <a:bodyPr/>
        <a:lstStyle/>
        <a:p>
          <a:endParaRPr lang="en-US"/>
        </a:p>
      </dgm:t>
    </dgm:pt>
    <dgm:pt modelId="{03266859-141F-48C8-ADC7-D9873C2805CE}" type="sibTrans" cxnId="{CE69965B-9CFD-4B23-827A-3740CA8D3182}">
      <dgm:prSet/>
      <dgm:spPr/>
      <dgm:t>
        <a:bodyPr/>
        <a:lstStyle/>
        <a:p>
          <a:endParaRPr lang="en-US"/>
        </a:p>
      </dgm:t>
    </dgm:pt>
    <dgm:pt modelId="{9047F046-F172-4256-8167-E3FA139B65CA}" type="pres">
      <dgm:prSet presAssocID="{C9B4A08C-1163-42BE-A69D-2390409B65DC}" presName="composite" presStyleCnt="0">
        <dgm:presLayoutVars>
          <dgm:chMax val="1"/>
          <dgm:dir/>
          <dgm:resizeHandles val="exact"/>
        </dgm:presLayoutVars>
      </dgm:prSet>
      <dgm:spPr/>
    </dgm:pt>
    <dgm:pt modelId="{08B0CE3A-5CCF-46FC-8369-971140566A1C}" type="pres">
      <dgm:prSet presAssocID="{C9B4A08C-1163-42BE-A69D-2390409B65DC}" presName="radial" presStyleCnt="0">
        <dgm:presLayoutVars>
          <dgm:animLvl val="ctr"/>
        </dgm:presLayoutVars>
      </dgm:prSet>
      <dgm:spPr/>
    </dgm:pt>
    <dgm:pt modelId="{01C17402-D086-414D-8263-9122B63CA433}" type="pres">
      <dgm:prSet presAssocID="{5DCD87BA-9270-4C55-B96D-2498ED9DE14C}" presName="centerShape" presStyleLbl="vennNode1" presStyleIdx="0" presStyleCnt="5"/>
      <dgm:spPr/>
    </dgm:pt>
    <dgm:pt modelId="{101D0080-7180-4E15-A31E-C7C43FFAD433}" type="pres">
      <dgm:prSet presAssocID="{D37BD22F-54F6-4407-88DE-8816CDD38B93}" presName="node" presStyleLbl="vennNode1" presStyleIdx="1" presStyleCnt="5">
        <dgm:presLayoutVars>
          <dgm:bulletEnabled val="1"/>
        </dgm:presLayoutVars>
      </dgm:prSet>
      <dgm:spPr/>
    </dgm:pt>
    <dgm:pt modelId="{9C6E53F8-0210-4B6C-AFB9-2C0E7FEA8557}" type="pres">
      <dgm:prSet presAssocID="{69167282-2A96-483A-8D28-E59D5B852ACD}" presName="node" presStyleLbl="vennNode1" presStyleIdx="2" presStyleCnt="5">
        <dgm:presLayoutVars>
          <dgm:bulletEnabled val="1"/>
        </dgm:presLayoutVars>
      </dgm:prSet>
      <dgm:spPr/>
    </dgm:pt>
    <dgm:pt modelId="{5FD12B76-D576-4580-A517-83F0C5E290A4}" type="pres">
      <dgm:prSet presAssocID="{C6A1F86C-95FB-4841-ADE0-D2EF4550685C}" presName="node" presStyleLbl="vennNode1" presStyleIdx="3" presStyleCnt="5">
        <dgm:presLayoutVars>
          <dgm:bulletEnabled val="1"/>
        </dgm:presLayoutVars>
      </dgm:prSet>
      <dgm:spPr/>
    </dgm:pt>
    <dgm:pt modelId="{98AE273A-8B98-4099-A786-D0022D113086}" type="pres">
      <dgm:prSet presAssocID="{0669B945-AED1-4AB1-8911-63897343F090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ECCC141C-1BE5-4874-BF9B-3C9EE7D268DE}" srcId="{5DCD87BA-9270-4C55-B96D-2498ED9DE14C}" destId="{69167282-2A96-483A-8D28-E59D5B852ACD}" srcOrd="1" destOrd="0" parTransId="{DD0E7C68-B2E1-4D73-9C14-26303A099976}" sibTransId="{46E3B871-9560-4271-95C6-AC30BAC8B35B}"/>
    <dgm:cxn modelId="{CE69965B-9CFD-4B23-827A-3740CA8D3182}" srcId="{5DCD87BA-9270-4C55-B96D-2498ED9DE14C}" destId="{0669B945-AED1-4AB1-8911-63897343F090}" srcOrd="3" destOrd="0" parTransId="{1F035ACE-82A3-4645-9E87-D739EE075167}" sibTransId="{03266859-141F-48C8-ADC7-D9873C2805CE}"/>
    <dgm:cxn modelId="{77AD4068-3602-4039-AEB0-6050CF42CE76}" type="presOf" srcId="{0669B945-AED1-4AB1-8911-63897343F090}" destId="{98AE273A-8B98-4099-A786-D0022D113086}" srcOrd="0" destOrd="0" presId="urn:microsoft.com/office/officeart/2005/8/layout/radial3"/>
    <dgm:cxn modelId="{5618F04F-99C4-4737-8E1B-58DCBE1191C5}" type="presOf" srcId="{69167282-2A96-483A-8D28-E59D5B852ACD}" destId="{9C6E53F8-0210-4B6C-AFB9-2C0E7FEA8557}" srcOrd="0" destOrd="0" presId="urn:microsoft.com/office/officeart/2005/8/layout/radial3"/>
    <dgm:cxn modelId="{BD446A9F-5E35-4088-B3F6-D9E13F3C8E9E}" type="presOf" srcId="{C9B4A08C-1163-42BE-A69D-2390409B65DC}" destId="{9047F046-F172-4256-8167-E3FA139B65CA}" srcOrd="0" destOrd="0" presId="urn:microsoft.com/office/officeart/2005/8/layout/radial3"/>
    <dgm:cxn modelId="{C9DAC19F-7C2B-4BF6-B7A2-29E83A7762F2}" type="presOf" srcId="{D37BD22F-54F6-4407-88DE-8816CDD38B93}" destId="{101D0080-7180-4E15-A31E-C7C43FFAD433}" srcOrd="0" destOrd="0" presId="urn:microsoft.com/office/officeart/2005/8/layout/radial3"/>
    <dgm:cxn modelId="{14BB26B1-D9CF-414C-A19E-F680157431CE}" type="presOf" srcId="{5DCD87BA-9270-4C55-B96D-2498ED9DE14C}" destId="{01C17402-D086-414D-8263-9122B63CA433}" srcOrd="0" destOrd="0" presId="urn:microsoft.com/office/officeart/2005/8/layout/radial3"/>
    <dgm:cxn modelId="{6C4E6FC6-9D42-4A22-BAC0-96B4776B56D4}" type="presOf" srcId="{C6A1F86C-95FB-4841-ADE0-D2EF4550685C}" destId="{5FD12B76-D576-4580-A517-83F0C5E290A4}" srcOrd="0" destOrd="0" presId="urn:microsoft.com/office/officeart/2005/8/layout/radial3"/>
    <dgm:cxn modelId="{ACFDC8D3-0083-4413-ADB4-97A3E00C4F33}" srcId="{C9B4A08C-1163-42BE-A69D-2390409B65DC}" destId="{5DCD87BA-9270-4C55-B96D-2498ED9DE14C}" srcOrd="0" destOrd="0" parTransId="{E901474F-4B6F-4C61-81D1-F92251F24366}" sibTransId="{F869A069-3D59-413D-BCF6-EDF5CC27C94D}"/>
    <dgm:cxn modelId="{10EFD0E7-3ACD-4256-818F-BE0B4DD05A50}" srcId="{5DCD87BA-9270-4C55-B96D-2498ED9DE14C}" destId="{D37BD22F-54F6-4407-88DE-8816CDD38B93}" srcOrd="0" destOrd="0" parTransId="{A5274E43-074E-4834-936B-33EAFEA263A9}" sibTransId="{26927B99-2B1A-4E78-A511-3D30BB28E2A0}"/>
    <dgm:cxn modelId="{1932F0F8-CDAA-46FF-9338-14B3D78E2910}" srcId="{5DCD87BA-9270-4C55-B96D-2498ED9DE14C}" destId="{C6A1F86C-95FB-4841-ADE0-D2EF4550685C}" srcOrd="2" destOrd="0" parTransId="{1365FC7D-1318-4326-9E89-F57881E7E5BD}" sibTransId="{9925C6CA-191A-4E19-88BE-51EA50F7307F}"/>
    <dgm:cxn modelId="{63993642-0DDC-4E73-81B3-7F78F2004372}" type="presParOf" srcId="{9047F046-F172-4256-8167-E3FA139B65CA}" destId="{08B0CE3A-5CCF-46FC-8369-971140566A1C}" srcOrd="0" destOrd="0" presId="urn:microsoft.com/office/officeart/2005/8/layout/radial3"/>
    <dgm:cxn modelId="{EFB99AB5-41B3-44AE-908B-6DEDD26F9579}" type="presParOf" srcId="{08B0CE3A-5CCF-46FC-8369-971140566A1C}" destId="{01C17402-D086-414D-8263-9122B63CA433}" srcOrd="0" destOrd="0" presId="urn:microsoft.com/office/officeart/2005/8/layout/radial3"/>
    <dgm:cxn modelId="{91283F6B-28D9-48E0-B65F-EB6781683641}" type="presParOf" srcId="{08B0CE3A-5CCF-46FC-8369-971140566A1C}" destId="{101D0080-7180-4E15-A31E-C7C43FFAD433}" srcOrd="1" destOrd="0" presId="urn:microsoft.com/office/officeart/2005/8/layout/radial3"/>
    <dgm:cxn modelId="{53C04528-854C-4581-8FED-0DE58BDFB134}" type="presParOf" srcId="{08B0CE3A-5CCF-46FC-8369-971140566A1C}" destId="{9C6E53F8-0210-4B6C-AFB9-2C0E7FEA8557}" srcOrd="2" destOrd="0" presId="urn:microsoft.com/office/officeart/2005/8/layout/radial3"/>
    <dgm:cxn modelId="{5D811419-8338-4A7C-8683-9309E981FB74}" type="presParOf" srcId="{08B0CE3A-5CCF-46FC-8369-971140566A1C}" destId="{5FD12B76-D576-4580-A517-83F0C5E290A4}" srcOrd="3" destOrd="0" presId="urn:microsoft.com/office/officeart/2005/8/layout/radial3"/>
    <dgm:cxn modelId="{9F2A4F65-12E2-482B-8E45-A78E790AF420}" type="presParOf" srcId="{08B0CE3A-5CCF-46FC-8369-971140566A1C}" destId="{98AE273A-8B98-4099-A786-D0022D113086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architecture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/>
            <a:t>Database module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09BA98DE-DEC2-4D0D-8490-D3297BBF0088}">
      <dgm:prSet phldrT="[Text]"/>
      <dgm:spPr/>
      <dgm:t>
        <a:bodyPr/>
        <a:lstStyle/>
        <a:p>
          <a:r>
            <a:rPr lang="en-US" noProof="0"/>
            <a:t>WebAPI module</a:t>
          </a:r>
        </a:p>
      </dgm:t>
    </dgm:pt>
    <dgm:pt modelId="{8E89657A-9899-4663-8EBD-CE951A955DD5}" type="parTrans" cxnId="{B74A69C1-DB0A-4823-ABB8-FD9F97D1DF87}">
      <dgm:prSet/>
      <dgm:spPr/>
      <dgm:t>
        <a:bodyPr/>
        <a:lstStyle/>
        <a:p>
          <a:endParaRPr lang="en-US"/>
        </a:p>
      </dgm:t>
    </dgm:pt>
    <dgm:pt modelId="{D9604DA3-0B95-413D-AA9C-D75798C0FF52}" type="sibTrans" cxnId="{B74A69C1-DB0A-4823-ABB8-FD9F97D1DF87}">
      <dgm:prSet/>
      <dgm:spPr/>
      <dgm:t>
        <a:bodyPr/>
        <a:lstStyle/>
        <a:p>
          <a:endParaRPr lang="en-US"/>
        </a:p>
      </dgm:t>
    </dgm:pt>
    <dgm:pt modelId="{A7376EC0-5FEA-48A4-B284-B453C867CA4F}">
      <dgm:prSet phldrT="[Text]"/>
      <dgm:spPr>
        <a:ln w="28575">
          <a:solidFill>
            <a:schemeClr val="tx1"/>
          </a:solidFill>
        </a:ln>
      </dgm:spPr>
      <dgm:t>
        <a:bodyPr/>
        <a:lstStyle/>
        <a:p>
          <a:r>
            <a:rPr lang="en-US" noProof="0"/>
            <a:t>UI (Selenium) module</a:t>
          </a:r>
        </a:p>
      </dgm:t>
    </dgm:pt>
    <dgm:pt modelId="{D8387D70-E1F9-4B42-8EE4-B3BED889F64B}" type="parTrans" cxnId="{AC431E10-8495-40FC-AE68-1DE0241390B0}">
      <dgm:prSet/>
      <dgm:spPr/>
      <dgm:t>
        <a:bodyPr/>
        <a:lstStyle/>
        <a:p>
          <a:endParaRPr lang="en-US"/>
        </a:p>
      </dgm:t>
    </dgm:pt>
    <dgm:pt modelId="{620F1AE9-67A6-43E4-8D4E-A7556D36F8F8}" type="sibTrans" cxnId="{AC431E10-8495-40FC-AE68-1DE0241390B0}">
      <dgm:prSet/>
      <dgm:spPr/>
      <dgm:t>
        <a:bodyPr/>
        <a:lstStyle/>
        <a:p>
          <a:endParaRPr lang="en-US"/>
        </a:p>
      </dgm:t>
    </dgm:pt>
    <dgm:pt modelId="{2292288B-8B39-49F2-9CA8-9AFCD7CDA712}">
      <dgm:prSet phldrT="[Text]"/>
      <dgm:spPr/>
      <dgm:t>
        <a:bodyPr/>
        <a:lstStyle/>
        <a:p>
          <a:r>
            <a:rPr lang="en-US" noProof="0"/>
            <a:t>Selenium Grid</a:t>
          </a:r>
        </a:p>
      </dgm:t>
    </dgm:pt>
    <dgm:pt modelId="{01D0AB0F-E732-41F9-9D62-3B8C4434DC42}" type="parTrans" cxnId="{01735BA0-2B36-41EC-BFC0-0CCFA7ACD053}">
      <dgm:prSet/>
      <dgm:spPr/>
      <dgm:t>
        <a:bodyPr/>
        <a:lstStyle/>
        <a:p>
          <a:endParaRPr lang="en-US"/>
        </a:p>
      </dgm:t>
    </dgm:pt>
    <dgm:pt modelId="{572C2FA6-B61B-4B7E-9BE2-BE1757364927}" type="sibTrans" cxnId="{01735BA0-2B36-41EC-BFC0-0CCFA7ACD053}">
      <dgm:prSet/>
      <dgm:spPr/>
      <dgm:t>
        <a:bodyPr/>
        <a:lstStyle/>
        <a:p>
          <a:endParaRPr lang="en-US"/>
        </a:p>
      </dgm:t>
    </dgm:pt>
    <dgm:pt modelId="{589892E1-7E9A-4ED2-9A00-ECF59CD9E4E2}">
      <dgm:prSet phldrT="[Text]"/>
      <dgm:spPr/>
      <dgm:t>
        <a:bodyPr/>
        <a:lstStyle/>
        <a:p>
          <a:r>
            <a:rPr lang="en-US" noProof="0" dirty="0"/>
            <a:t>Mobile (</a:t>
          </a:r>
          <a:r>
            <a:rPr lang="en-US" noProof="0" dirty="0" err="1"/>
            <a:t>Appium</a:t>
          </a:r>
          <a:r>
            <a:rPr lang="en-US" noProof="0" dirty="0"/>
            <a:t>) app</a:t>
          </a:r>
          <a:r>
            <a:rPr lang="pl-PL" noProof="0" dirty="0"/>
            <a:t> *</a:t>
          </a:r>
          <a:endParaRPr lang="en-US" noProof="0" dirty="0"/>
        </a:p>
      </dgm:t>
    </dgm:pt>
    <dgm:pt modelId="{6298D63F-CF36-4C9A-B1AF-B6EC065B8542}" type="parTrans" cxnId="{D68E50A4-4DE3-4F5D-92C6-F68E47329EAA}">
      <dgm:prSet/>
      <dgm:spPr/>
      <dgm:t>
        <a:bodyPr/>
        <a:lstStyle/>
        <a:p>
          <a:endParaRPr lang="en-US"/>
        </a:p>
      </dgm:t>
    </dgm:pt>
    <dgm:pt modelId="{6E27F27E-66F1-4C1C-AB5B-DE1A342F5B80}" type="sibTrans" cxnId="{D68E50A4-4DE3-4F5D-92C6-F68E47329EAA}">
      <dgm:prSet/>
      <dgm:spPr/>
      <dgm:t>
        <a:bodyPr/>
        <a:lstStyle/>
        <a:p>
          <a:endParaRPr lang="en-US"/>
        </a:p>
      </dgm:t>
    </dgm:pt>
    <dgm:pt modelId="{6B9937D0-C50E-45C2-B4B1-863E69FCB5B1}">
      <dgm:prSet phldrT="[Text]"/>
      <dgm:spPr/>
      <dgm:t>
        <a:bodyPr/>
        <a:lstStyle/>
        <a:p>
          <a:r>
            <a:rPr lang="en-US" noProof="0" dirty="0"/>
            <a:t>Mobile </a:t>
          </a:r>
          <a:br>
            <a:rPr lang="pl-PL" noProof="0" dirty="0"/>
          </a:br>
          <a:r>
            <a:rPr lang="en-US" noProof="0" dirty="0"/>
            <a:t>Grid</a:t>
          </a:r>
          <a:r>
            <a:rPr lang="pl-PL" noProof="0" dirty="0"/>
            <a:t> *</a:t>
          </a:r>
          <a:endParaRPr lang="en-US" noProof="0" dirty="0"/>
        </a:p>
      </dgm:t>
    </dgm:pt>
    <dgm:pt modelId="{AEF92B5E-DA15-46F7-BACF-71FF8F3D14F0}" type="parTrans" cxnId="{8F0BC77A-97BE-4977-BDA7-D96570690F34}">
      <dgm:prSet/>
      <dgm:spPr/>
      <dgm:t>
        <a:bodyPr/>
        <a:lstStyle/>
        <a:p>
          <a:endParaRPr lang="en-US"/>
        </a:p>
      </dgm:t>
    </dgm:pt>
    <dgm:pt modelId="{981C6366-F035-4302-9D7B-6125B4FAB462}" type="sibTrans" cxnId="{8F0BC77A-97BE-4977-BDA7-D96570690F34}">
      <dgm:prSet/>
      <dgm:spPr/>
      <dgm:t>
        <a:bodyPr/>
        <a:lstStyle/>
        <a:p>
          <a:endParaRPr lang="en-US"/>
        </a:p>
      </dgm:t>
    </dgm:pt>
    <dgm:pt modelId="{16B3806B-317F-41B0-ABDF-7267C80EC3B2}">
      <dgm:prSet phldrT="[Text]"/>
      <dgm:spPr/>
      <dgm:t>
        <a:bodyPr/>
        <a:lstStyle/>
        <a:p>
          <a:r>
            <a:rPr lang="en-US" noProof="0" dirty="0"/>
            <a:t>Standalone APP</a:t>
          </a:r>
          <a:r>
            <a:rPr lang="pl-PL" noProof="0" dirty="0"/>
            <a:t> *</a:t>
          </a:r>
          <a:endParaRPr lang="en-US" noProof="0" dirty="0"/>
        </a:p>
      </dgm:t>
    </dgm:pt>
    <dgm:pt modelId="{97DC8A9B-CFD6-40D1-A1ED-398BABE06067}" type="parTrans" cxnId="{5A200011-DE1C-4E4A-8F4A-4D5AD08EE3A9}">
      <dgm:prSet/>
      <dgm:spPr/>
      <dgm:t>
        <a:bodyPr/>
        <a:lstStyle/>
        <a:p>
          <a:endParaRPr lang="en-US"/>
        </a:p>
      </dgm:t>
    </dgm:pt>
    <dgm:pt modelId="{C1409865-ED18-41BE-9B28-662D81AEEE4F}" type="sibTrans" cxnId="{5A200011-DE1C-4E4A-8F4A-4D5AD08EE3A9}">
      <dgm:prSet/>
      <dgm:spPr/>
      <dgm:t>
        <a:bodyPr/>
        <a:lstStyle/>
        <a:p>
          <a:endParaRPr lang="en-US"/>
        </a:p>
      </dgm:t>
    </dgm:pt>
    <dgm:pt modelId="{8E346F4D-76A2-462D-9B44-3650FB2B405C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/>
            <a:t>Security module</a:t>
          </a:r>
        </a:p>
      </dgm:t>
    </dgm:pt>
    <dgm:pt modelId="{3F230114-3CC0-45DF-9870-044520BC28C8}" type="parTrans" cxnId="{1D76C90C-838C-4330-B04F-05BE873D410F}">
      <dgm:prSet/>
      <dgm:spPr/>
      <dgm:t>
        <a:bodyPr/>
        <a:lstStyle/>
        <a:p>
          <a:endParaRPr lang="en-US"/>
        </a:p>
      </dgm:t>
    </dgm:pt>
    <dgm:pt modelId="{0F905974-FF65-435B-B2DD-FBC8F1A908F0}" type="sibTrans" cxnId="{1D76C90C-838C-4330-B04F-05BE873D410F}">
      <dgm:prSet/>
      <dgm:spPr/>
      <dgm:t>
        <a:bodyPr/>
        <a:lstStyle/>
        <a:p>
          <a:endParaRPr lang="en-US"/>
        </a:p>
      </dgm:t>
    </dgm:pt>
    <dgm:pt modelId="{6733E3A7-9EE4-4EFF-B65C-61E0B126E302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DevOps module</a:t>
          </a:r>
        </a:p>
      </dgm:t>
    </dgm:pt>
    <dgm:pt modelId="{3D98FF0D-B7EB-42FA-8A0C-F97A740C5CC2}" type="parTrans" cxnId="{C4B3FED4-3336-4139-911B-D057D16A48F5}">
      <dgm:prSet/>
      <dgm:spPr/>
      <dgm:t>
        <a:bodyPr/>
        <a:lstStyle/>
        <a:p>
          <a:endParaRPr lang="en-US"/>
        </a:p>
      </dgm:t>
    </dgm:pt>
    <dgm:pt modelId="{C64997DC-0FAE-46D2-807A-F0C151BFA135}" type="sibTrans" cxnId="{C4B3FED4-3336-4139-911B-D057D16A48F5}">
      <dgm:prSet/>
      <dgm:spPr/>
      <dgm:t>
        <a:bodyPr/>
        <a:lstStyle/>
        <a:p>
          <a:endParaRPr lang="en-US"/>
        </a:p>
      </dgm:t>
    </dgm:pt>
    <dgm:pt modelId="{9A65ADEB-F1B5-411F-B9AC-B64E8E60B070}">
      <dgm:prSet phldrT="[Text]"/>
      <dgm:spPr>
        <a:solidFill>
          <a:srgbClr val="0085B3"/>
        </a:solidFill>
        <a:ln w="28575">
          <a:noFill/>
        </a:ln>
      </dgm:spPr>
      <dgm:t>
        <a:bodyPr/>
        <a:lstStyle/>
        <a:p>
          <a:r>
            <a:rPr lang="en-US" noProof="0" dirty="0"/>
            <a:t>Test core module</a:t>
          </a:r>
        </a:p>
      </dgm:t>
    </dgm:pt>
    <dgm:pt modelId="{124EE3FC-3289-4868-83FD-BB361276B47E}" type="parTrans" cxnId="{6933AB0D-D526-4683-90E6-DBCAD5B13CA0}">
      <dgm:prSet/>
      <dgm:spPr/>
      <dgm:t>
        <a:bodyPr/>
        <a:lstStyle/>
        <a:p>
          <a:endParaRPr lang="en-US"/>
        </a:p>
      </dgm:t>
    </dgm:pt>
    <dgm:pt modelId="{80E8A97E-4D14-4268-B043-8933A19483DA}" type="sibTrans" cxnId="{6933AB0D-D526-4683-90E6-DBCAD5B13CA0}">
      <dgm:prSet/>
      <dgm:spPr/>
      <dgm:t>
        <a:bodyPr/>
        <a:lstStyle/>
        <a:p>
          <a:endParaRPr lang="en-US"/>
        </a:p>
      </dgm:t>
    </dgm:pt>
    <dgm:pt modelId="{2B2119DE-9C5F-42BD-90CA-B1F7EF735AF4}" type="pres">
      <dgm:prSet presAssocID="{B9C32B05-62EA-407A-B21C-2310C794570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B9E2D6A-8969-4EEC-85C2-615B86E0B196}" type="pres">
      <dgm:prSet presAssocID="{42D71409-67F9-455C-8C6D-716D284AAA6B}" presName="vertOne" presStyleCnt="0"/>
      <dgm:spPr/>
    </dgm:pt>
    <dgm:pt modelId="{034D588B-2C5E-413E-8FB3-A45A598FE77E}" type="pres">
      <dgm:prSet presAssocID="{42D71409-67F9-455C-8C6D-716D284AAA6B}" presName="txOne" presStyleLbl="node0" presStyleIdx="0" presStyleCnt="3">
        <dgm:presLayoutVars>
          <dgm:chPref val="3"/>
        </dgm:presLayoutVars>
      </dgm:prSet>
      <dgm:spPr/>
    </dgm:pt>
    <dgm:pt modelId="{155C8750-CD3F-4EED-8869-852B83F3E2B4}" type="pres">
      <dgm:prSet presAssocID="{42D71409-67F9-455C-8C6D-716D284AAA6B}" presName="parTransOne" presStyleCnt="0"/>
      <dgm:spPr/>
    </dgm:pt>
    <dgm:pt modelId="{782F8E29-E0AF-4190-B2CF-FA75DA3E0DD3}" type="pres">
      <dgm:prSet presAssocID="{42D71409-67F9-455C-8C6D-716D284AAA6B}" presName="horzOne" presStyleCnt="0"/>
      <dgm:spPr/>
    </dgm:pt>
    <dgm:pt modelId="{DA72A51A-2648-42DA-A6F5-1368068F74F5}" type="pres">
      <dgm:prSet presAssocID="{8E346F4D-76A2-462D-9B44-3650FB2B405C}" presName="vertTwo" presStyleCnt="0"/>
      <dgm:spPr/>
    </dgm:pt>
    <dgm:pt modelId="{CDB456C7-FEB2-4189-8DB4-859E0B913BE7}" type="pres">
      <dgm:prSet presAssocID="{8E346F4D-76A2-462D-9B44-3650FB2B405C}" presName="txTwo" presStyleLbl="node2" presStyleIdx="0" presStyleCnt="2" custScaleY="205355" custLinFactX="225310" custLinFactNeighborX="300000" custLinFactNeighborY="2804">
        <dgm:presLayoutVars>
          <dgm:chPref val="3"/>
        </dgm:presLayoutVars>
      </dgm:prSet>
      <dgm:spPr/>
    </dgm:pt>
    <dgm:pt modelId="{665A94F3-AC2E-440A-90D8-6366FA2C472B}" type="pres">
      <dgm:prSet presAssocID="{8E346F4D-76A2-462D-9B44-3650FB2B405C}" presName="horzTwo" presStyleCnt="0"/>
      <dgm:spPr/>
    </dgm:pt>
    <dgm:pt modelId="{E8E6822D-8E60-479F-9744-0822855A4470}" type="pres">
      <dgm:prSet presAssocID="{0F905974-FF65-435B-B2DD-FBC8F1A908F0}" presName="sibSpaceTwo" presStyleCnt="0"/>
      <dgm:spPr/>
    </dgm:pt>
    <dgm:pt modelId="{1DEC18CE-0974-4E7A-AE22-5B53857D08A5}" type="pres">
      <dgm:prSet presAssocID="{09BA98DE-DEC2-4D0D-8490-D3297BBF0088}" presName="vertTwo" presStyleCnt="0"/>
      <dgm:spPr/>
    </dgm:pt>
    <dgm:pt modelId="{79946D67-CF20-4533-873C-9747C402A031}" type="pres">
      <dgm:prSet presAssocID="{09BA98DE-DEC2-4D0D-8490-D3297BBF0088}" presName="txTwo" presStyleLbl="node2" presStyleIdx="1" presStyleCnt="2" custLinFactNeighborX="-21053" custLinFactNeighborY="48072">
        <dgm:presLayoutVars>
          <dgm:chPref val="3"/>
        </dgm:presLayoutVars>
      </dgm:prSet>
      <dgm:spPr/>
    </dgm:pt>
    <dgm:pt modelId="{11A9DFF6-0FBF-42E2-AC9E-E9078967B9F6}" type="pres">
      <dgm:prSet presAssocID="{09BA98DE-DEC2-4D0D-8490-D3297BBF0088}" presName="parTransTwo" presStyleCnt="0"/>
      <dgm:spPr/>
    </dgm:pt>
    <dgm:pt modelId="{B536D2A5-09A8-40A9-B9B2-95A40A490E97}" type="pres">
      <dgm:prSet presAssocID="{09BA98DE-DEC2-4D0D-8490-D3297BBF0088}" presName="horzTwo" presStyleCnt="0"/>
      <dgm:spPr/>
    </dgm:pt>
    <dgm:pt modelId="{CC689BD4-6667-4A02-BE0B-05FBA1E9DFEE}" type="pres">
      <dgm:prSet presAssocID="{A7376EC0-5FEA-48A4-B284-B453C867CA4F}" presName="vertThree" presStyleCnt="0"/>
      <dgm:spPr/>
    </dgm:pt>
    <dgm:pt modelId="{7951CDCD-4F97-4CCA-8C56-4992B72B07BB}" type="pres">
      <dgm:prSet presAssocID="{A7376EC0-5FEA-48A4-B284-B453C867CA4F}" presName="txThree" presStyleLbl="node3" presStyleIdx="0" presStyleCnt="5" custLinFactX="-9429" custLinFactNeighborX="-100000" custLinFactNeighborY="8130">
        <dgm:presLayoutVars>
          <dgm:chPref val="3"/>
        </dgm:presLayoutVars>
      </dgm:prSet>
      <dgm:spPr/>
    </dgm:pt>
    <dgm:pt modelId="{5AA5A2CD-9B6E-4706-AD2B-726846A26241}" type="pres">
      <dgm:prSet presAssocID="{A7376EC0-5FEA-48A4-B284-B453C867CA4F}" presName="horzThree" presStyleCnt="0"/>
      <dgm:spPr/>
    </dgm:pt>
    <dgm:pt modelId="{3774BBD5-FDE4-40E1-B05B-37017133E0FA}" type="pres">
      <dgm:prSet presAssocID="{620F1AE9-67A6-43E4-8D4E-A7556D36F8F8}" presName="sibSpaceThree" presStyleCnt="0"/>
      <dgm:spPr/>
    </dgm:pt>
    <dgm:pt modelId="{41559B25-8C6A-464D-BF22-BE3C9F736111}" type="pres">
      <dgm:prSet presAssocID="{2292288B-8B39-49F2-9CA8-9AFCD7CDA712}" presName="vertThree" presStyleCnt="0"/>
      <dgm:spPr/>
    </dgm:pt>
    <dgm:pt modelId="{16415C91-F210-4416-A0F4-1AA0347D5471}" type="pres">
      <dgm:prSet presAssocID="{2292288B-8B39-49F2-9CA8-9AFCD7CDA712}" presName="txThree" presStyleLbl="node3" presStyleIdx="1" presStyleCnt="5" custLinFactX="-9460" custLinFactNeighborX="-100000" custLinFactNeighborY="8130">
        <dgm:presLayoutVars>
          <dgm:chPref val="3"/>
        </dgm:presLayoutVars>
      </dgm:prSet>
      <dgm:spPr/>
    </dgm:pt>
    <dgm:pt modelId="{2A95AAC2-1202-4AC2-BACF-0DA698DF7F4C}" type="pres">
      <dgm:prSet presAssocID="{2292288B-8B39-49F2-9CA8-9AFCD7CDA712}" presName="horzThree" presStyleCnt="0"/>
      <dgm:spPr/>
    </dgm:pt>
    <dgm:pt modelId="{8FF487CA-1EFE-4D30-AE1A-DA6180CF2B9F}" type="pres">
      <dgm:prSet presAssocID="{572C2FA6-B61B-4B7E-9BE2-BE1757364927}" presName="sibSpaceThree" presStyleCnt="0"/>
      <dgm:spPr/>
    </dgm:pt>
    <dgm:pt modelId="{6F748793-9F52-45C0-BB7D-F70EE9ADCD11}" type="pres">
      <dgm:prSet presAssocID="{589892E1-7E9A-4ED2-9A00-ECF59CD9E4E2}" presName="vertThree" presStyleCnt="0"/>
      <dgm:spPr/>
    </dgm:pt>
    <dgm:pt modelId="{D8A6C93A-917D-4567-B16D-E30EEE8A93BD}" type="pres">
      <dgm:prSet presAssocID="{589892E1-7E9A-4ED2-9A00-ECF59CD9E4E2}" presName="txThree" presStyleLbl="node3" presStyleIdx="2" presStyleCnt="5" custLinFactX="-9460" custLinFactNeighborX="-100000" custLinFactNeighborY="8130">
        <dgm:presLayoutVars>
          <dgm:chPref val="3"/>
        </dgm:presLayoutVars>
      </dgm:prSet>
      <dgm:spPr/>
    </dgm:pt>
    <dgm:pt modelId="{EF0B39D7-3444-41FC-AA5E-204BA04CE20B}" type="pres">
      <dgm:prSet presAssocID="{589892E1-7E9A-4ED2-9A00-ECF59CD9E4E2}" presName="horzThree" presStyleCnt="0"/>
      <dgm:spPr/>
    </dgm:pt>
    <dgm:pt modelId="{0C74B5B8-1BB4-4CC1-B901-4409ED4551A1}" type="pres">
      <dgm:prSet presAssocID="{6E27F27E-66F1-4C1C-AB5B-DE1A342F5B80}" presName="sibSpaceThree" presStyleCnt="0"/>
      <dgm:spPr/>
    </dgm:pt>
    <dgm:pt modelId="{04CFD224-47B9-4740-85C5-27869E975EBD}" type="pres">
      <dgm:prSet presAssocID="{6B9937D0-C50E-45C2-B4B1-863E69FCB5B1}" presName="vertThree" presStyleCnt="0"/>
      <dgm:spPr/>
    </dgm:pt>
    <dgm:pt modelId="{10845D90-6534-40EB-8279-CF7912BF2E6A}" type="pres">
      <dgm:prSet presAssocID="{6B9937D0-C50E-45C2-B4B1-863E69FCB5B1}" presName="txThree" presStyleLbl="node3" presStyleIdx="3" presStyleCnt="5" custLinFactX="-9460" custLinFactNeighborX="-100000" custLinFactNeighborY="8130">
        <dgm:presLayoutVars>
          <dgm:chPref val="3"/>
        </dgm:presLayoutVars>
      </dgm:prSet>
      <dgm:spPr/>
    </dgm:pt>
    <dgm:pt modelId="{54AA577C-9EA8-4070-9234-7DE01FE1F281}" type="pres">
      <dgm:prSet presAssocID="{6B9937D0-C50E-45C2-B4B1-863E69FCB5B1}" presName="horzThree" presStyleCnt="0"/>
      <dgm:spPr/>
    </dgm:pt>
    <dgm:pt modelId="{439A1615-4820-49EA-B3CF-83905D4EF337}" type="pres">
      <dgm:prSet presAssocID="{981C6366-F035-4302-9D7B-6125B4FAB462}" presName="sibSpaceThree" presStyleCnt="0"/>
      <dgm:spPr/>
    </dgm:pt>
    <dgm:pt modelId="{46B34DDF-9C3B-405B-9CAC-1D39BDBC2EEE}" type="pres">
      <dgm:prSet presAssocID="{16B3806B-317F-41B0-ABDF-7267C80EC3B2}" presName="vertThree" presStyleCnt="0"/>
      <dgm:spPr/>
    </dgm:pt>
    <dgm:pt modelId="{9A46057F-5CDA-4B57-BF6D-897D216AF86F}" type="pres">
      <dgm:prSet presAssocID="{16B3806B-317F-41B0-ABDF-7267C80EC3B2}" presName="txThree" presStyleLbl="node3" presStyleIdx="4" presStyleCnt="5" custLinFactX="-9460" custLinFactNeighborX="-100000" custLinFactNeighborY="8130">
        <dgm:presLayoutVars>
          <dgm:chPref val="3"/>
        </dgm:presLayoutVars>
      </dgm:prSet>
      <dgm:spPr/>
    </dgm:pt>
    <dgm:pt modelId="{DBC56214-4432-4434-8518-707CDC63F5BF}" type="pres">
      <dgm:prSet presAssocID="{16B3806B-317F-41B0-ABDF-7267C80EC3B2}" presName="horzThree" presStyleCnt="0"/>
      <dgm:spPr/>
    </dgm:pt>
    <dgm:pt modelId="{38DD3712-FE5D-4944-89FA-AD709564BD3A}" type="pres">
      <dgm:prSet presAssocID="{478B7D3C-9FB4-4BC6-90AC-49960560DECD}" presName="sibSpaceOne" presStyleCnt="0"/>
      <dgm:spPr/>
    </dgm:pt>
    <dgm:pt modelId="{1C4B8FF2-A5B4-46BA-942A-8A19BEE69F70}" type="pres">
      <dgm:prSet presAssocID="{6733E3A7-9EE4-4EFF-B65C-61E0B126E302}" presName="vertOne" presStyleCnt="0"/>
      <dgm:spPr/>
    </dgm:pt>
    <dgm:pt modelId="{1F321622-6935-42D4-AE83-D556256DD586}" type="pres">
      <dgm:prSet presAssocID="{6733E3A7-9EE4-4EFF-B65C-61E0B126E302}" presName="txOne" presStyleLbl="node0" presStyleIdx="1" presStyleCnt="3" custScaleY="309236" custLinFactNeighborX="-7251">
        <dgm:presLayoutVars>
          <dgm:chPref val="3"/>
        </dgm:presLayoutVars>
      </dgm:prSet>
      <dgm:spPr/>
    </dgm:pt>
    <dgm:pt modelId="{824137B6-FDCD-4837-BBD2-6FDD09327885}" type="pres">
      <dgm:prSet presAssocID="{6733E3A7-9EE4-4EFF-B65C-61E0B126E302}" presName="horzOne" presStyleCnt="0"/>
      <dgm:spPr/>
    </dgm:pt>
    <dgm:pt modelId="{ECE19E2B-8C42-4059-9124-AF3EDDEFF355}" type="pres">
      <dgm:prSet presAssocID="{C64997DC-0FAE-46D2-807A-F0C151BFA135}" presName="sibSpaceOne" presStyleCnt="0"/>
      <dgm:spPr/>
    </dgm:pt>
    <dgm:pt modelId="{915571E0-40F3-4E75-A71C-E935FB4D94B6}" type="pres">
      <dgm:prSet presAssocID="{9A65ADEB-F1B5-411F-B9AC-B64E8E60B070}" presName="vertOne" presStyleCnt="0"/>
      <dgm:spPr/>
    </dgm:pt>
    <dgm:pt modelId="{AF9421C1-0977-4165-AE01-1E0941FF1DC2}" type="pres">
      <dgm:prSet presAssocID="{9A65ADEB-F1B5-411F-B9AC-B64E8E60B070}" presName="txOne" presStyleLbl="node0" presStyleIdx="2" presStyleCnt="3" custScaleY="309153" custLinFactNeighborX="-13910" custLinFactNeighborY="-96">
        <dgm:presLayoutVars>
          <dgm:chPref val="3"/>
        </dgm:presLayoutVars>
      </dgm:prSet>
      <dgm:spPr/>
    </dgm:pt>
    <dgm:pt modelId="{870B6F6E-AE96-4262-9B4A-86C432C82D5E}" type="pres">
      <dgm:prSet presAssocID="{9A65ADEB-F1B5-411F-B9AC-B64E8E60B070}" presName="horzOne" presStyleCnt="0"/>
      <dgm:spPr/>
    </dgm:pt>
  </dgm:ptLst>
  <dgm:cxnLst>
    <dgm:cxn modelId="{1D76C90C-838C-4330-B04F-05BE873D410F}" srcId="{42D71409-67F9-455C-8C6D-716D284AAA6B}" destId="{8E346F4D-76A2-462D-9B44-3650FB2B405C}" srcOrd="0" destOrd="0" parTransId="{3F230114-3CC0-45DF-9870-044520BC28C8}" sibTransId="{0F905974-FF65-435B-B2DD-FBC8F1A908F0}"/>
    <dgm:cxn modelId="{6933AB0D-D526-4683-90E6-DBCAD5B13CA0}" srcId="{B9C32B05-62EA-407A-B21C-2310C7945705}" destId="{9A65ADEB-F1B5-411F-B9AC-B64E8E60B070}" srcOrd="2" destOrd="0" parTransId="{124EE3FC-3289-4868-83FD-BB361276B47E}" sibTransId="{80E8A97E-4D14-4268-B043-8933A19483DA}"/>
    <dgm:cxn modelId="{AC431E10-8495-40FC-AE68-1DE0241390B0}" srcId="{09BA98DE-DEC2-4D0D-8490-D3297BBF0088}" destId="{A7376EC0-5FEA-48A4-B284-B453C867CA4F}" srcOrd="0" destOrd="0" parTransId="{D8387D70-E1F9-4B42-8EE4-B3BED889F64B}" sibTransId="{620F1AE9-67A6-43E4-8D4E-A7556D36F8F8}"/>
    <dgm:cxn modelId="{5A200011-DE1C-4E4A-8F4A-4D5AD08EE3A9}" srcId="{09BA98DE-DEC2-4D0D-8490-D3297BBF0088}" destId="{16B3806B-317F-41B0-ABDF-7267C80EC3B2}" srcOrd="4" destOrd="0" parTransId="{97DC8A9B-CFD6-40D1-A1ED-398BABE06067}" sibTransId="{C1409865-ED18-41BE-9B28-662D81AEEE4F}"/>
    <dgm:cxn modelId="{9485E016-24FF-4C5B-A604-8D2C35894629}" type="presOf" srcId="{6733E3A7-9EE4-4EFF-B65C-61E0B126E302}" destId="{1F321622-6935-42D4-AE83-D556256DD586}" srcOrd="0" destOrd="0" presId="urn:microsoft.com/office/officeart/2005/8/layout/architecture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4DF5D2A-6A4D-4162-9537-4E5EFE935020}" type="presOf" srcId="{8E346F4D-76A2-462D-9B44-3650FB2B405C}" destId="{CDB456C7-FEB2-4189-8DB4-859E0B913BE7}" srcOrd="0" destOrd="0" presId="urn:microsoft.com/office/officeart/2005/8/layout/architecture"/>
    <dgm:cxn modelId="{A979BC3C-2723-4156-B3DB-C01E9A5B2FD4}" type="presOf" srcId="{42D71409-67F9-455C-8C6D-716D284AAA6B}" destId="{034D588B-2C5E-413E-8FB3-A45A598FE77E}" srcOrd="0" destOrd="0" presId="urn:microsoft.com/office/officeart/2005/8/layout/architecture"/>
    <dgm:cxn modelId="{BE1FAE48-E7FA-4B5F-B8A0-AB0218E01AAA}" type="presOf" srcId="{09BA98DE-DEC2-4D0D-8490-D3297BBF0088}" destId="{79946D67-CF20-4533-873C-9747C402A031}" srcOrd="0" destOrd="0" presId="urn:microsoft.com/office/officeart/2005/8/layout/architecture"/>
    <dgm:cxn modelId="{D3531A79-F502-4DE6-B84D-ADA7B780EF91}" type="presOf" srcId="{6B9937D0-C50E-45C2-B4B1-863E69FCB5B1}" destId="{10845D90-6534-40EB-8279-CF7912BF2E6A}" srcOrd="0" destOrd="0" presId="urn:microsoft.com/office/officeart/2005/8/layout/architecture"/>
    <dgm:cxn modelId="{8F0BC77A-97BE-4977-BDA7-D96570690F34}" srcId="{09BA98DE-DEC2-4D0D-8490-D3297BBF0088}" destId="{6B9937D0-C50E-45C2-B4B1-863E69FCB5B1}" srcOrd="3" destOrd="0" parTransId="{AEF92B5E-DA15-46F7-BACF-71FF8F3D14F0}" sibTransId="{981C6366-F035-4302-9D7B-6125B4FAB462}"/>
    <dgm:cxn modelId="{838E4390-9F55-49D4-9507-F4A284234087}" type="presOf" srcId="{9A65ADEB-F1B5-411F-B9AC-B64E8E60B070}" destId="{AF9421C1-0977-4165-AE01-1E0941FF1DC2}" srcOrd="0" destOrd="0" presId="urn:microsoft.com/office/officeart/2005/8/layout/architecture"/>
    <dgm:cxn modelId="{01735BA0-2B36-41EC-BFC0-0CCFA7ACD053}" srcId="{09BA98DE-DEC2-4D0D-8490-D3297BBF0088}" destId="{2292288B-8B39-49F2-9CA8-9AFCD7CDA712}" srcOrd="1" destOrd="0" parTransId="{01D0AB0F-E732-41F9-9D62-3B8C4434DC42}" sibTransId="{572C2FA6-B61B-4B7E-9BE2-BE1757364927}"/>
    <dgm:cxn modelId="{D68E50A4-4DE3-4F5D-92C6-F68E47329EAA}" srcId="{09BA98DE-DEC2-4D0D-8490-D3297BBF0088}" destId="{589892E1-7E9A-4ED2-9A00-ECF59CD9E4E2}" srcOrd="2" destOrd="0" parTransId="{6298D63F-CF36-4C9A-B1AF-B6EC065B8542}" sibTransId="{6E27F27E-66F1-4C1C-AB5B-DE1A342F5B80}"/>
    <dgm:cxn modelId="{0D291AB4-BEB5-4618-B81D-7B95651B289E}" type="presOf" srcId="{16B3806B-317F-41B0-ABDF-7267C80EC3B2}" destId="{9A46057F-5CDA-4B57-BF6D-897D216AF86F}" srcOrd="0" destOrd="0" presId="urn:microsoft.com/office/officeart/2005/8/layout/architecture"/>
    <dgm:cxn modelId="{29AD19C1-E3CA-4CBB-B7D5-1464D9D29FFC}" type="presOf" srcId="{B9C32B05-62EA-407A-B21C-2310C7945705}" destId="{2B2119DE-9C5F-42BD-90CA-B1F7EF735AF4}" srcOrd="0" destOrd="0" presId="urn:microsoft.com/office/officeart/2005/8/layout/architecture"/>
    <dgm:cxn modelId="{B74A69C1-DB0A-4823-ABB8-FD9F97D1DF87}" srcId="{42D71409-67F9-455C-8C6D-716D284AAA6B}" destId="{09BA98DE-DEC2-4D0D-8490-D3297BBF0088}" srcOrd="1" destOrd="0" parTransId="{8E89657A-9899-4663-8EBD-CE951A955DD5}" sibTransId="{D9604DA3-0B95-413D-AA9C-D75798C0FF52}"/>
    <dgm:cxn modelId="{C4B3FED4-3336-4139-911B-D057D16A48F5}" srcId="{B9C32B05-62EA-407A-B21C-2310C7945705}" destId="{6733E3A7-9EE4-4EFF-B65C-61E0B126E302}" srcOrd="1" destOrd="0" parTransId="{3D98FF0D-B7EB-42FA-8A0C-F97A740C5CC2}" sibTransId="{C64997DC-0FAE-46D2-807A-F0C151BFA135}"/>
    <dgm:cxn modelId="{13147EDA-6AAB-4BDB-84A1-5EBE5C2F9AC0}" type="presOf" srcId="{A7376EC0-5FEA-48A4-B284-B453C867CA4F}" destId="{7951CDCD-4F97-4CCA-8C56-4992B72B07BB}" srcOrd="0" destOrd="0" presId="urn:microsoft.com/office/officeart/2005/8/layout/architecture"/>
    <dgm:cxn modelId="{CDE785E0-C465-484D-9E57-92F491C024BB}" type="presOf" srcId="{589892E1-7E9A-4ED2-9A00-ECF59CD9E4E2}" destId="{D8A6C93A-917D-4567-B16D-E30EEE8A93BD}" srcOrd="0" destOrd="0" presId="urn:microsoft.com/office/officeart/2005/8/layout/architecture"/>
    <dgm:cxn modelId="{E9122CFC-2E55-4948-9216-106805F06521}" type="presOf" srcId="{2292288B-8B39-49F2-9CA8-9AFCD7CDA712}" destId="{16415C91-F210-4416-A0F4-1AA0347D5471}" srcOrd="0" destOrd="0" presId="urn:microsoft.com/office/officeart/2005/8/layout/architecture"/>
    <dgm:cxn modelId="{39EA7F95-4D46-4958-AC66-FB5E4923064E}" type="presParOf" srcId="{2B2119DE-9C5F-42BD-90CA-B1F7EF735AF4}" destId="{7B9E2D6A-8969-4EEC-85C2-615B86E0B196}" srcOrd="0" destOrd="0" presId="urn:microsoft.com/office/officeart/2005/8/layout/architecture"/>
    <dgm:cxn modelId="{55849938-37BC-425A-9F52-D3C2D550C45C}" type="presParOf" srcId="{7B9E2D6A-8969-4EEC-85C2-615B86E0B196}" destId="{034D588B-2C5E-413E-8FB3-A45A598FE77E}" srcOrd="0" destOrd="0" presId="urn:microsoft.com/office/officeart/2005/8/layout/architecture"/>
    <dgm:cxn modelId="{78954A11-5968-418D-8359-8E2137AE71C9}" type="presParOf" srcId="{7B9E2D6A-8969-4EEC-85C2-615B86E0B196}" destId="{155C8750-CD3F-4EED-8869-852B83F3E2B4}" srcOrd="1" destOrd="0" presId="urn:microsoft.com/office/officeart/2005/8/layout/architecture"/>
    <dgm:cxn modelId="{1D889143-CBFE-457D-B257-4536B47700D6}" type="presParOf" srcId="{7B9E2D6A-8969-4EEC-85C2-615B86E0B196}" destId="{782F8E29-E0AF-4190-B2CF-FA75DA3E0DD3}" srcOrd="2" destOrd="0" presId="urn:microsoft.com/office/officeart/2005/8/layout/architecture"/>
    <dgm:cxn modelId="{A64ABA92-BFD4-464D-A813-719DA8E4D353}" type="presParOf" srcId="{782F8E29-E0AF-4190-B2CF-FA75DA3E0DD3}" destId="{DA72A51A-2648-42DA-A6F5-1368068F74F5}" srcOrd="0" destOrd="0" presId="urn:microsoft.com/office/officeart/2005/8/layout/architecture"/>
    <dgm:cxn modelId="{AE9B9108-75CD-4962-AAB5-0150EABB791A}" type="presParOf" srcId="{DA72A51A-2648-42DA-A6F5-1368068F74F5}" destId="{CDB456C7-FEB2-4189-8DB4-859E0B913BE7}" srcOrd="0" destOrd="0" presId="urn:microsoft.com/office/officeart/2005/8/layout/architecture"/>
    <dgm:cxn modelId="{CCF17E4B-C4B8-45FC-B226-A3056C897CDB}" type="presParOf" srcId="{DA72A51A-2648-42DA-A6F5-1368068F74F5}" destId="{665A94F3-AC2E-440A-90D8-6366FA2C472B}" srcOrd="1" destOrd="0" presId="urn:microsoft.com/office/officeart/2005/8/layout/architecture"/>
    <dgm:cxn modelId="{5D750304-BC3F-4CFB-84BA-E8DEEA9CB757}" type="presParOf" srcId="{782F8E29-E0AF-4190-B2CF-FA75DA3E0DD3}" destId="{E8E6822D-8E60-479F-9744-0822855A4470}" srcOrd="1" destOrd="0" presId="urn:microsoft.com/office/officeart/2005/8/layout/architecture"/>
    <dgm:cxn modelId="{64731336-DFF0-4527-A608-DA86DC8E03B9}" type="presParOf" srcId="{782F8E29-E0AF-4190-B2CF-FA75DA3E0DD3}" destId="{1DEC18CE-0974-4E7A-AE22-5B53857D08A5}" srcOrd="2" destOrd="0" presId="urn:microsoft.com/office/officeart/2005/8/layout/architecture"/>
    <dgm:cxn modelId="{C13FB284-2F9D-4AAA-82A1-BF020F9FA761}" type="presParOf" srcId="{1DEC18CE-0974-4E7A-AE22-5B53857D08A5}" destId="{79946D67-CF20-4533-873C-9747C402A031}" srcOrd="0" destOrd="0" presId="urn:microsoft.com/office/officeart/2005/8/layout/architecture"/>
    <dgm:cxn modelId="{CC01CDF7-CDD5-4DCB-ACA0-A29F780A5428}" type="presParOf" srcId="{1DEC18CE-0974-4E7A-AE22-5B53857D08A5}" destId="{11A9DFF6-0FBF-42E2-AC9E-E9078967B9F6}" srcOrd="1" destOrd="0" presId="urn:microsoft.com/office/officeart/2005/8/layout/architecture"/>
    <dgm:cxn modelId="{D05EC6C4-F0F6-48F5-8BE8-4B6FA953FBF9}" type="presParOf" srcId="{1DEC18CE-0974-4E7A-AE22-5B53857D08A5}" destId="{B536D2A5-09A8-40A9-B9B2-95A40A490E97}" srcOrd="2" destOrd="0" presId="urn:microsoft.com/office/officeart/2005/8/layout/architecture"/>
    <dgm:cxn modelId="{5F7F3AF0-0535-400B-8519-166D66F8E2B9}" type="presParOf" srcId="{B536D2A5-09A8-40A9-B9B2-95A40A490E97}" destId="{CC689BD4-6667-4A02-BE0B-05FBA1E9DFEE}" srcOrd="0" destOrd="0" presId="urn:microsoft.com/office/officeart/2005/8/layout/architecture"/>
    <dgm:cxn modelId="{91D6E38E-B3D7-458E-8D8A-5A0AD2B8F466}" type="presParOf" srcId="{CC689BD4-6667-4A02-BE0B-05FBA1E9DFEE}" destId="{7951CDCD-4F97-4CCA-8C56-4992B72B07BB}" srcOrd="0" destOrd="0" presId="urn:microsoft.com/office/officeart/2005/8/layout/architecture"/>
    <dgm:cxn modelId="{DA797278-E2B1-4C69-80C8-1EDBFA09ADF9}" type="presParOf" srcId="{CC689BD4-6667-4A02-BE0B-05FBA1E9DFEE}" destId="{5AA5A2CD-9B6E-4706-AD2B-726846A26241}" srcOrd="1" destOrd="0" presId="urn:microsoft.com/office/officeart/2005/8/layout/architecture"/>
    <dgm:cxn modelId="{EEEA0B91-D02D-42B9-83B2-F869C774B485}" type="presParOf" srcId="{B536D2A5-09A8-40A9-B9B2-95A40A490E97}" destId="{3774BBD5-FDE4-40E1-B05B-37017133E0FA}" srcOrd="1" destOrd="0" presId="urn:microsoft.com/office/officeart/2005/8/layout/architecture"/>
    <dgm:cxn modelId="{92B2A7FE-154A-42F2-938E-01F853842220}" type="presParOf" srcId="{B536D2A5-09A8-40A9-B9B2-95A40A490E97}" destId="{41559B25-8C6A-464D-BF22-BE3C9F736111}" srcOrd="2" destOrd="0" presId="urn:microsoft.com/office/officeart/2005/8/layout/architecture"/>
    <dgm:cxn modelId="{B42CC3AE-7780-40DD-B598-8F6990D86C95}" type="presParOf" srcId="{41559B25-8C6A-464D-BF22-BE3C9F736111}" destId="{16415C91-F210-4416-A0F4-1AA0347D5471}" srcOrd="0" destOrd="0" presId="urn:microsoft.com/office/officeart/2005/8/layout/architecture"/>
    <dgm:cxn modelId="{7364F703-18B4-4A0E-A14A-401B942420E7}" type="presParOf" srcId="{41559B25-8C6A-464D-BF22-BE3C9F736111}" destId="{2A95AAC2-1202-4AC2-BACF-0DA698DF7F4C}" srcOrd="1" destOrd="0" presId="urn:microsoft.com/office/officeart/2005/8/layout/architecture"/>
    <dgm:cxn modelId="{15159FF2-9BA1-43D6-AD31-8B5C8B9E10B9}" type="presParOf" srcId="{B536D2A5-09A8-40A9-B9B2-95A40A490E97}" destId="{8FF487CA-1EFE-4D30-AE1A-DA6180CF2B9F}" srcOrd="3" destOrd="0" presId="urn:microsoft.com/office/officeart/2005/8/layout/architecture"/>
    <dgm:cxn modelId="{C90D1555-79A3-441D-881D-AF6F09919C64}" type="presParOf" srcId="{B536D2A5-09A8-40A9-B9B2-95A40A490E97}" destId="{6F748793-9F52-45C0-BB7D-F70EE9ADCD11}" srcOrd="4" destOrd="0" presId="urn:microsoft.com/office/officeart/2005/8/layout/architecture"/>
    <dgm:cxn modelId="{EA412814-F0F3-4DD2-8FDB-70F4138BC3F5}" type="presParOf" srcId="{6F748793-9F52-45C0-BB7D-F70EE9ADCD11}" destId="{D8A6C93A-917D-4567-B16D-E30EEE8A93BD}" srcOrd="0" destOrd="0" presId="urn:microsoft.com/office/officeart/2005/8/layout/architecture"/>
    <dgm:cxn modelId="{19695E5B-85F2-44C5-9399-2F1C39E3706A}" type="presParOf" srcId="{6F748793-9F52-45C0-BB7D-F70EE9ADCD11}" destId="{EF0B39D7-3444-41FC-AA5E-204BA04CE20B}" srcOrd="1" destOrd="0" presId="urn:microsoft.com/office/officeart/2005/8/layout/architecture"/>
    <dgm:cxn modelId="{4BD63E64-D669-48C9-B21C-31652BE02F5E}" type="presParOf" srcId="{B536D2A5-09A8-40A9-B9B2-95A40A490E97}" destId="{0C74B5B8-1BB4-4CC1-B901-4409ED4551A1}" srcOrd="5" destOrd="0" presId="urn:microsoft.com/office/officeart/2005/8/layout/architecture"/>
    <dgm:cxn modelId="{94B5DC0C-011E-46D5-A6BC-24B36154307C}" type="presParOf" srcId="{B536D2A5-09A8-40A9-B9B2-95A40A490E97}" destId="{04CFD224-47B9-4740-85C5-27869E975EBD}" srcOrd="6" destOrd="0" presId="urn:microsoft.com/office/officeart/2005/8/layout/architecture"/>
    <dgm:cxn modelId="{87D3EE63-EBD5-4BD4-B5E4-E8664690A2BA}" type="presParOf" srcId="{04CFD224-47B9-4740-85C5-27869E975EBD}" destId="{10845D90-6534-40EB-8279-CF7912BF2E6A}" srcOrd="0" destOrd="0" presId="urn:microsoft.com/office/officeart/2005/8/layout/architecture"/>
    <dgm:cxn modelId="{C8B58524-33B3-44F8-8BC8-1FD497DB9BCB}" type="presParOf" srcId="{04CFD224-47B9-4740-85C5-27869E975EBD}" destId="{54AA577C-9EA8-4070-9234-7DE01FE1F281}" srcOrd="1" destOrd="0" presId="urn:microsoft.com/office/officeart/2005/8/layout/architecture"/>
    <dgm:cxn modelId="{1378A4C0-FAD3-47A4-8B84-A44C84F32B0D}" type="presParOf" srcId="{B536D2A5-09A8-40A9-B9B2-95A40A490E97}" destId="{439A1615-4820-49EA-B3CF-83905D4EF337}" srcOrd="7" destOrd="0" presId="urn:microsoft.com/office/officeart/2005/8/layout/architecture"/>
    <dgm:cxn modelId="{2B77D262-955C-43A0-BE54-547A297807CC}" type="presParOf" srcId="{B536D2A5-09A8-40A9-B9B2-95A40A490E97}" destId="{46B34DDF-9C3B-405B-9CAC-1D39BDBC2EEE}" srcOrd="8" destOrd="0" presId="urn:microsoft.com/office/officeart/2005/8/layout/architecture"/>
    <dgm:cxn modelId="{3E1D2094-3E51-425A-B206-0AB1AE1050C2}" type="presParOf" srcId="{46B34DDF-9C3B-405B-9CAC-1D39BDBC2EEE}" destId="{9A46057F-5CDA-4B57-BF6D-897D216AF86F}" srcOrd="0" destOrd="0" presId="urn:microsoft.com/office/officeart/2005/8/layout/architecture"/>
    <dgm:cxn modelId="{2AC9AE11-F5A3-47A3-99FB-46E4F009958B}" type="presParOf" srcId="{46B34DDF-9C3B-405B-9CAC-1D39BDBC2EEE}" destId="{DBC56214-4432-4434-8518-707CDC63F5BF}" srcOrd="1" destOrd="0" presId="urn:microsoft.com/office/officeart/2005/8/layout/architecture"/>
    <dgm:cxn modelId="{DB4A8B43-B4BA-4E07-8074-6CB05CD4EDA6}" type="presParOf" srcId="{2B2119DE-9C5F-42BD-90CA-B1F7EF735AF4}" destId="{38DD3712-FE5D-4944-89FA-AD709564BD3A}" srcOrd="1" destOrd="0" presId="urn:microsoft.com/office/officeart/2005/8/layout/architecture"/>
    <dgm:cxn modelId="{A022927A-6581-4085-9B1E-1A1B9241A5B9}" type="presParOf" srcId="{2B2119DE-9C5F-42BD-90CA-B1F7EF735AF4}" destId="{1C4B8FF2-A5B4-46BA-942A-8A19BEE69F70}" srcOrd="2" destOrd="0" presId="urn:microsoft.com/office/officeart/2005/8/layout/architecture"/>
    <dgm:cxn modelId="{F8F4D0D2-67F7-4012-95B0-9EAC6389B7AB}" type="presParOf" srcId="{1C4B8FF2-A5B4-46BA-942A-8A19BEE69F70}" destId="{1F321622-6935-42D4-AE83-D556256DD586}" srcOrd="0" destOrd="0" presId="urn:microsoft.com/office/officeart/2005/8/layout/architecture"/>
    <dgm:cxn modelId="{CA4ADC7B-CE63-4DDF-84CA-4F8D3C8299E5}" type="presParOf" srcId="{1C4B8FF2-A5B4-46BA-942A-8A19BEE69F70}" destId="{824137B6-FDCD-4837-BBD2-6FDD09327885}" srcOrd="1" destOrd="0" presId="urn:microsoft.com/office/officeart/2005/8/layout/architecture"/>
    <dgm:cxn modelId="{6044EE94-C166-49A1-BF1D-8458B8A6AB6E}" type="presParOf" srcId="{2B2119DE-9C5F-42BD-90CA-B1F7EF735AF4}" destId="{ECE19E2B-8C42-4059-9124-AF3EDDEFF355}" srcOrd="3" destOrd="0" presId="urn:microsoft.com/office/officeart/2005/8/layout/architecture"/>
    <dgm:cxn modelId="{4306862D-A5A7-4385-B9E7-87BDA51C6F4C}" type="presParOf" srcId="{2B2119DE-9C5F-42BD-90CA-B1F7EF735AF4}" destId="{915571E0-40F3-4E75-A71C-E935FB4D94B6}" srcOrd="4" destOrd="0" presId="urn:microsoft.com/office/officeart/2005/8/layout/architecture"/>
    <dgm:cxn modelId="{8428C0B9-B4E0-44D2-926E-0600BBB39387}" type="presParOf" srcId="{915571E0-40F3-4E75-A71C-E935FB4D94B6}" destId="{AF9421C1-0977-4165-AE01-1E0941FF1DC2}" srcOrd="0" destOrd="0" presId="urn:microsoft.com/office/officeart/2005/8/layout/architecture"/>
    <dgm:cxn modelId="{DD6084D8-02F4-4A7D-8393-EF295DCC57C0}" type="presParOf" srcId="{915571E0-40F3-4E75-A71C-E935FB4D94B6}" destId="{870B6F6E-AE96-4262-9B4A-86C432C82D5E}" srcOrd="1" destOrd="0" presId="urn:microsoft.com/office/officeart/2005/8/layout/archite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>
        <a:solidFill>
          <a:srgbClr val="7030A0"/>
        </a:solidFill>
        <a:ln>
          <a:solidFill>
            <a:schemeClr val="tx1"/>
          </a:solidFill>
        </a:ln>
      </dgm:spPr>
      <dgm:t>
        <a:bodyPr/>
        <a:lstStyle/>
        <a:p>
          <a:br>
            <a:rPr lang="pl-PL" sz="2000" dirty="0"/>
          </a:br>
          <a:r>
            <a:rPr lang="en-US" sz="2000" dirty="0"/>
            <a:t>UI</a:t>
          </a:r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>
        <a:solidFill>
          <a:schemeClr val="accent3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0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pl-PL" sz="2000" dirty="0"/>
            <a:t>BACKEND</a:t>
          </a:r>
          <a:endParaRPr lang="en-US" sz="2000" dirty="0"/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 custScaleY="66687" custLinFactNeighborX="502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 custScaleY="63097" custLinFactNeighborX="524" custLinFactNeighborY="-71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 custScaleY="64367" custLinFactNeighborY="3926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BBE8411-3190-4A3A-B989-51C1B2947291}" type="presOf" srcId="{F7E37FBC-8099-4DB3-B4F8-DBDE0DCEC1D7}" destId="{9BFA4AC6-E825-4477-B889-F9C66C1195B8}" srcOrd="0" destOrd="0" presId="urn:microsoft.com/office/officeart/2005/8/layout/pyramid1"/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1B795B21-46DE-4755-943C-F01105C75C15}" type="presOf" srcId="{40285531-BAEE-43E6-BBD4-8249575B1878}" destId="{D9074314-C21A-447C-9E4D-59C6F495C412}" srcOrd="0" destOrd="0" presId="urn:microsoft.com/office/officeart/2005/8/layout/pyramid1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B55B675F-1AC6-4E11-9CF0-F9AED92641B5}" type="presOf" srcId="{40285531-BAEE-43E6-BBD4-8249575B1878}" destId="{9A3F85C7-0AE1-424E-8646-B4248B01294E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470F893-7D7E-45B6-A670-AB2ACA3D5826}" type="presOf" srcId="{F7E37FBC-8099-4DB3-B4F8-DBDE0DCEC1D7}" destId="{7008F9DC-B4CA-4C47-ACF8-16602824A142}" srcOrd="1" destOrd="0" presId="urn:microsoft.com/office/officeart/2005/8/layout/pyramid1"/>
    <dgm:cxn modelId="{369F40CD-1451-46A3-9197-B631F07F4D34}" type="presOf" srcId="{6ED7E280-935A-4740-AB58-C0FAE580BFA8}" destId="{3DF1A04F-9824-4FA2-8E9B-69197A34DB02}" srcOrd="0" destOrd="0" presId="urn:microsoft.com/office/officeart/2005/8/layout/pyramid1"/>
    <dgm:cxn modelId="{338064E2-CA05-402C-B778-2BB888B9D52E}" type="presOf" srcId="{6160D3D4-613A-4519-A481-F89ADD5F7320}" destId="{891CA3F0-A4E4-43F8-949C-180B2AB3BCFE}" srcOrd="0" destOrd="0" presId="urn:microsoft.com/office/officeart/2005/8/layout/pyramid1"/>
    <dgm:cxn modelId="{63F8C2F3-CB24-433D-B098-C4D03AADA2D6}" type="presOf" srcId="{6ED7E280-935A-4740-AB58-C0FAE580BFA8}" destId="{B615F79F-706C-4309-9FFC-D94774F354E8}" srcOrd="1" destOrd="0" presId="urn:microsoft.com/office/officeart/2005/8/layout/pyramid1"/>
    <dgm:cxn modelId="{951B6FEC-DD2B-42BC-8A79-CF422BD9EFFA}" type="presParOf" srcId="{891CA3F0-A4E4-43F8-949C-180B2AB3BCFE}" destId="{24A053E9-ED32-40AA-8B2A-BD33F0C11AE2}" srcOrd="0" destOrd="0" presId="urn:microsoft.com/office/officeart/2005/8/layout/pyramid1"/>
    <dgm:cxn modelId="{B7C3F258-D632-4838-9E52-1B6E9767325C}" type="presParOf" srcId="{24A053E9-ED32-40AA-8B2A-BD33F0C11AE2}" destId="{9BFA4AC6-E825-4477-B889-F9C66C1195B8}" srcOrd="0" destOrd="0" presId="urn:microsoft.com/office/officeart/2005/8/layout/pyramid1"/>
    <dgm:cxn modelId="{53458D5B-F8AF-487B-A420-7BB925AD6C32}" type="presParOf" srcId="{24A053E9-ED32-40AA-8B2A-BD33F0C11AE2}" destId="{7008F9DC-B4CA-4C47-ACF8-16602824A142}" srcOrd="1" destOrd="0" presId="urn:microsoft.com/office/officeart/2005/8/layout/pyramid1"/>
    <dgm:cxn modelId="{571B8127-D607-4AEE-BB6F-FC06E4E97617}" type="presParOf" srcId="{891CA3F0-A4E4-43F8-949C-180B2AB3BCFE}" destId="{141F8D72-3F15-4CC5-95F4-F3EA15242490}" srcOrd="1" destOrd="0" presId="urn:microsoft.com/office/officeart/2005/8/layout/pyramid1"/>
    <dgm:cxn modelId="{95977A26-58CE-4D66-9B8D-9EDB9D4CAC50}" type="presParOf" srcId="{141F8D72-3F15-4CC5-95F4-F3EA15242490}" destId="{3DF1A04F-9824-4FA2-8E9B-69197A34DB02}" srcOrd="0" destOrd="0" presId="urn:microsoft.com/office/officeart/2005/8/layout/pyramid1"/>
    <dgm:cxn modelId="{5BFC64BE-3618-43D8-9A25-45308346F1BB}" type="presParOf" srcId="{141F8D72-3F15-4CC5-95F4-F3EA15242490}" destId="{B615F79F-706C-4309-9FFC-D94774F354E8}" srcOrd="1" destOrd="0" presId="urn:microsoft.com/office/officeart/2005/8/layout/pyramid1"/>
    <dgm:cxn modelId="{E784AAA4-333B-463A-A8C1-50E1D680DDF9}" type="presParOf" srcId="{891CA3F0-A4E4-43F8-949C-180B2AB3BCFE}" destId="{6B315756-5F49-4E5C-B814-8281ACC31042}" srcOrd="2" destOrd="0" presId="urn:microsoft.com/office/officeart/2005/8/layout/pyramid1"/>
    <dgm:cxn modelId="{FAD2DC6E-DAF8-4C98-A139-F4A09C8BE71C}" type="presParOf" srcId="{6B315756-5F49-4E5C-B814-8281ACC31042}" destId="{D9074314-C21A-447C-9E4D-59C6F495C412}" srcOrd="0" destOrd="0" presId="urn:microsoft.com/office/officeart/2005/8/layout/pyramid1"/>
    <dgm:cxn modelId="{03C408EF-023C-4948-9A09-A3CC2203B567}" type="presParOf" srcId="{6B315756-5F49-4E5C-B814-8281ACC31042}" destId="{9A3F85C7-0AE1-424E-8646-B4248B01294E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rings+Icon" loCatId="relationship" qsTypeId="urn:microsoft.com/office/officeart/2005/8/quickstyle/simple4" qsCatId="simple" csTypeId="urn:microsoft.com/office/officeart/2005/8/colors/colorful1#119" csCatId="colorful" phldr="1"/>
      <dgm:spPr/>
      <dgm:t>
        <a:bodyPr/>
        <a:lstStyle/>
        <a:p>
          <a:endParaRPr lang="en-US"/>
        </a:p>
      </dgm:t>
    </dgm:pt>
    <dgm:pt modelId="{8EA7219F-BDB2-48EB-9EEB-3133522D132E}">
      <dgm:prSet phldrT="[Text]"/>
      <dgm:spPr/>
      <dgm:t>
        <a:bodyPr/>
        <a:lstStyle/>
        <a:p>
          <a:r>
            <a:rPr lang="en-US" noProof="0" dirty="0"/>
            <a:t>Malleable resolution</a:t>
          </a:r>
        </a:p>
      </dgm:t>
    </dgm:pt>
    <dgm:pt modelId="{3EE8403A-CB7C-4815-85BD-AEBCAEB71B37}" type="parTrans" cxnId="{58AD7EEF-D408-406B-87EE-4691D4C30668}">
      <dgm:prSet/>
      <dgm:spPr/>
      <dgm:t>
        <a:bodyPr/>
        <a:lstStyle/>
        <a:p>
          <a:endParaRPr lang="en-US"/>
        </a:p>
      </dgm:t>
    </dgm:pt>
    <dgm:pt modelId="{C94B7947-85DC-4B21-BB99-DF8438356F98}" type="sibTrans" cxnId="{58AD7EEF-D408-406B-87EE-4691D4C30668}">
      <dgm:prSet/>
      <dgm:spPr/>
      <dgm:t>
        <a:bodyPr/>
        <a:lstStyle/>
        <a:p>
          <a:endParaRPr lang="en-US"/>
        </a:p>
      </dgm:t>
    </dgm:pt>
    <dgm:pt modelId="{868BDDD6-4F83-4D1B-BC7E-9AEED628F007}">
      <dgm:prSet/>
      <dgm:spPr/>
      <dgm:t>
        <a:bodyPr/>
        <a:lstStyle/>
        <a:p>
          <a:pPr rtl="0"/>
          <a:r>
            <a:rPr lang="en-US" noProof="0"/>
            <a:t>Remote Web Design</a:t>
          </a:r>
        </a:p>
      </dgm:t>
    </dgm:pt>
    <dgm:pt modelId="{95FD810E-B0B5-41EA-9E04-0F32678CB89F}" type="parTrans" cxnId="{DC390FAD-5302-4C7C-9E17-3C470ABC6DE3}">
      <dgm:prSet/>
      <dgm:spPr/>
      <dgm:t>
        <a:bodyPr/>
        <a:lstStyle/>
        <a:p>
          <a:endParaRPr lang="en-US"/>
        </a:p>
      </dgm:t>
    </dgm:pt>
    <dgm:pt modelId="{D1AB5CCA-E578-47A2-80E6-390674FD9EFC}" type="sibTrans" cxnId="{DC390FAD-5302-4C7C-9E17-3C470ABC6DE3}">
      <dgm:prSet/>
      <dgm:spPr/>
      <dgm:t>
        <a:bodyPr/>
        <a:lstStyle/>
        <a:p>
          <a:endParaRPr lang="en-US"/>
        </a:p>
      </dgm:t>
    </dgm:pt>
    <dgm:pt modelId="{19E079BF-53EA-4B60-B040-3FB1A4EA2BB1}">
      <dgm:prSet/>
      <dgm:spPr/>
      <dgm:t>
        <a:bodyPr/>
        <a:lstStyle/>
        <a:p>
          <a:pPr rtl="0"/>
          <a:r>
            <a:rPr lang="en-US" noProof="0"/>
            <a:t>Mobile browsers </a:t>
          </a:r>
        </a:p>
      </dgm:t>
    </dgm:pt>
    <dgm:pt modelId="{9C4627EE-83AB-46C3-9792-E7D4FA4A3DDF}" type="parTrans" cxnId="{6B1FCDAE-F531-4C08-B15D-1C2AF1ACEE8A}">
      <dgm:prSet/>
      <dgm:spPr/>
      <dgm:t>
        <a:bodyPr/>
        <a:lstStyle/>
        <a:p>
          <a:endParaRPr lang="en-US"/>
        </a:p>
      </dgm:t>
    </dgm:pt>
    <dgm:pt modelId="{C65CB558-25BB-4BA1-ACDD-59C1C2367D03}" type="sibTrans" cxnId="{6B1FCDAE-F531-4C08-B15D-1C2AF1ACEE8A}">
      <dgm:prSet/>
      <dgm:spPr/>
      <dgm:t>
        <a:bodyPr/>
        <a:lstStyle/>
        <a:p>
          <a:endParaRPr lang="en-US"/>
        </a:p>
      </dgm:t>
    </dgm:pt>
    <dgm:pt modelId="{9FB53499-B67D-42DB-9333-AB3B047EC570}">
      <dgm:prSet/>
      <dgm:spPr/>
      <dgm:t>
        <a:bodyPr/>
        <a:lstStyle/>
        <a:p>
          <a:pPr rtl="0"/>
          <a:r>
            <a:rPr lang="en-US" noProof="0"/>
            <a:t>Support for many browsers</a:t>
          </a:r>
        </a:p>
      </dgm:t>
    </dgm:pt>
    <dgm:pt modelId="{A5F0FFBF-9804-4BA4-8A11-A598BA9BB685}" type="parTrans" cxnId="{57D8208E-6B46-44FD-812F-BADE41DA979B}">
      <dgm:prSet/>
      <dgm:spPr/>
      <dgm:t>
        <a:bodyPr/>
        <a:lstStyle/>
        <a:p>
          <a:endParaRPr lang="en-US"/>
        </a:p>
      </dgm:t>
    </dgm:pt>
    <dgm:pt modelId="{8036B4EC-5C39-479B-83C1-85E26BBD7E12}" type="sibTrans" cxnId="{57D8208E-6B46-44FD-812F-BADE41DA979B}">
      <dgm:prSet/>
      <dgm:spPr/>
      <dgm:t>
        <a:bodyPr/>
        <a:lstStyle/>
        <a:p>
          <a:endParaRPr lang="en-US"/>
        </a:p>
      </dgm:t>
    </dgm:pt>
    <dgm:pt modelId="{FBF93382-5200-434B-A91C-CEB90CBB4146}">
      <dgm:prSet/>
      <dgm:spPr/>
      <dgm:t>
        <a:bodyPr/>
        <a:lstStyle/>
        <a:p>
          <a:pPr rtl="0"/>
          <a:r>
            <a:rPr lang="en-US" noProof="0"/>
            <a:t>Internet Explorer, Edge</a:t>
          </a:r>
        </a:p>
      </dgm:t>
    </dgm:pt>
    <dgm:pt modelId="{7C6BF579-D484-447C-9026-F0B01C2CFD53}" type="parTrans" cxnId="{45FBB309-C824-4356-B797-FBA6A76B3E02}">
      <dgm:prSet/>
      <dgm:spPr/>
      <dgm:t>
        <a:bodyPr/>
        <a:lstStyle/>
        <a:p>
          <a:endParaRPr lang="en-US"/>
        </a:p>
      </dgm:t>
    </dgm:pt>
    <dgm:pt modelId="{DFD1DFDD-C365-4F20-A1D3-4B9BC91C7EF6}" type="sibTrans" cxnId="{45FBB309-C824-4356-B797-FBA6A76B3E02}">
      <dgm:prSet/>
      <dgm:spPr/>
      <dgm:t>
        <a:bodyPr/>
        <a:lstStyle/>
        <a:p>
          <a:endParaRPr lang="en-US"/>
        </a:p>
      </dgm:t>
    </dgm:pt>
    <dgm:pt modelId="{913983E9-B5E4-44BA-8607-C6FCCD40353D}">
      <dgm:prSet/>
      <dgm:spPr/>
      <dgm:t>
        <a:bodyPr/>
        <a:lstStyle/>
        <a:p>
          <a:pPr rtl="0"/>
          <a:r>
            <a:rPr lang="en-US" noProof="0"/>
            <a:t>Chrome, Firefox</a:t>
          </a:r>
        </a:p>
      </dgm:t>
    </dgm:pt>
    <dgm:pt modelId="{BB5CBC84-32EA-4775-94B8-1EBD3DC522BC}" type="parTrans" cxnId="{FACF622A-2FEB-4D00-8AA6-88E056D3E72F}">
      <dgm:prSet/>
      <dgm:spPr/>
      <dgm:t>
        <a:bodyPr/>
        <a:lstStyle/>
        <a:p>
          <a:endParaRPr lang="en-US"/>
        </a:p>
      </dgm:t>
    </dgm:pt>
    <dgm:pt modelId="{7B74EC3A-76D8-4201-9D60-9E0F9E7B5A44}" type="sibTrans" cxnId="{FACF622A-2FEB-4D00-8AA6-88E056D3E72F}">
      <dgm:prSet/>
      <dgm:spPr/>
      <dgm:t>
        <a:bodyPr/>
        <a:lstStyle/>
        <a:p>
          <a:endParaRPr lang="en-US"/>
        </a:p>
      </dgm:t>
    </dgm:pt>
    <dgm:pt modelId="{72DD1467-9FDA-420A-B214-692A61CDD8E9}">
      <dgm:prSet/>
      <dgm:spPr/>
      <dgm:t>
        <a:bodyPr/>
        <a:lstStyle/>
        <a:p>
          <a:pPr rtl="0"/>
          <a:r>
            <a:rPr lang="en-US" noProof="0"/>
            <a:t>Safari</a:t>
          </a:r>
        </a:p>
      </dgm:t>
    </dgm:pt>
    <dgm:pt modelId="{8D94AE81-AF4A-4263-9F07-E6D1AF197B5C}" type="parTrans" cxnId="{9761482E-4823-4118-9921-16CF13B49498}">
      <dgm:prSet/>
      <dgm:spPr/>
      <dgm:t>
        <a:bodyPr/>
        <a:lstStyle/>
        <a:p>
          <a:endParaRPr lang="en-US"/>
        </a:p>
      </dgm:t>
    </dgm:pt>
    <dgm:pt modelId="{DBB86D1F-D3C7-4B46-8E0A-E7042D1DBDA5}" type="sibTrans" cxnId="{9761482E-4823-4118-9921-16CF13B49498}">
      <dgm:prSet/>
      <dgm:spPr/>
      <dgm:t>
        <a:bodyPr/>
        <a:lstStyle/>
        <a:p>
          <a:endParaRPr lang="en-US"/>
        </a:p>
      </dgm:t>
    </dgm:pt>
    <dgm:pt modelId="{AD4C2D61-2A02-4B4A-9B2D-233D1EF67014}">
      <dgm:prSet/>
      <dgm:spPr/>
      <dgm:t>
        <a:bodyPr/>
        <a:lstStyle/>
        <a:p>
          <a:pPr rtl="0"/>
          <a:r>
            <a:rPr lang="en-US" noProof="0"/>
            <a:t>User friendly actions</a:t>
          </a:r>
        </a:p>
      </dgm:t>
    </dgm:pt>
    <dgm:pt modelId="{A4652952-0C6C-4BD3-8B47-A6867FB8D7AF}" type="parTrans" cxnId="{88A3CE0C-EA06-4ACB-B7F8-954ACFDBD399}">
      <dgm:prSet/>
      <dgm:spPr/>
      <dgm:t>
        <a:bodyPr/>
        <a:lstStyle/>
        <a:p>
          <a:endParaRPr lang="en-US"/>
        </a:p>
      </dgm:t>
    </dgm:pt>
    <dgm:pt modelId="{4388A7BC-2E8F-42C0-99F0-BD8AFC70FF93}" type="sibTrans" cxnId="{88A3CE0C-EA06-4ACB-B7F8-954ACFDBD399}">
      <dgm:prSet/>
      <dgm:spPr/>
      <dgm:t>
        <a:bodyPr/>
        <a:lstStyle/>
        <a:p>
          <a:endParaRPr lang="en-US"/>
        </a:p>
      </dgm:t>
    </dgm:pt>
    <dgm:pt modelId="{66F246F0-AB1F-4BAE-B877-A96E77E818FA}">
      <dgm:prSet/>
      <dgm:spPr/>
      <dgm:t>
        <a:bodyPr/>
        <a:lstStyle/>
        <a:p>
          <a:pPr rtl="0"/>
          <a:r>
            <a:rPr lang="en-US" noProof="0"/>
            <a:t>elementCheckBox</a:t>
          </a:r>
        </a:p>
      </dgm:t>
    </dgm:pt>
    <dgm:pt modelId="{F986946E-474A-47E6-94D6-06CFCA1F7F7E}" type="parTrans" cxnId="{3E4FF556-1D62-4F00-B645-88DFE666C7D2}">
      <dgm:prSet/>
      <dgm:spPr/>
      <dgm:t>
        <a:bodyPr/>
        <a:lstStyle/>
        <a:p>
          <a:endParaRPr lang="en-US"/>
        </a:p>
      </dgm:t>
    </dgm:pt>
    <dgm:pt modelId="{4AF1E2AC-1F8C-43AD-A246-47C3D818B6C8}" type="sibTrans" cxnId="{3E4FF556-1D62-4F00-B645-88DFE666C7D2}">
      <dgm:prSet/>
      <dgm:spPr/>
      <dgm:t>
        <a:bodyPr/>
        <a:lstStyle/>
        <a:p>
          <a:endParaRPr lang="en-US"/>
        </a:p>
      </dgm:t>
    </dgm:pt>
    <dgm:pt modelId="{0C0E1443-1694-494D-9269-001C2F2D37D3}">
      <dgm:prSet/>
      <dgm:spPr/>
      <dgm:t>
        <a:bodyPr/>
        <a:lstStyle/>
        <a:p>
          <a:pPr rtl="0"/>
          <a:r>
            <a:rPr lang="en-US" noProof="0" dirty="0" err="1"/>
            <a:t>elementDropdown</a:t>
          </a:r>
          <a:r>
            <a:rPr lang="en-US" noProof="0" dirty="0"/>
            <a:t>, etc. </a:t>
          </a:r>
        </a:p>
      </dgm:t>
    </dgm:pt>
    <dgm:pt modelId="{76ACEAEA-B6D8-4590-830A-A12CC2FEB6C5}" type="parTrans" cxnId="{27F60469-3B04-4698-8738-1B09E349ACA0}">
      <dgm:prSet/>
      <dgm:spPr/>
      <dgm:t>
        <a:bodyPr/>
        <a:lstStyle/>
        <a:p>
          <a:endParaRPr lang="en-US"/>
        </a:p>
      </dgm:t>
    </dgm:pt>
    <dgm:pt modelId="{F0CCE2F3-BC22-4EEF-B425-A4B12586CA8A}" type="sibTrans" cxnId="{27F60469-3B04-4698-8738-1B09E349ACA0}">
      <dgm:prSet/>
      <dgm:spPr/>
      <dgm:t>
        <a:bodyPr/>
        <a:lstStyle/>
        <a:p>
          <a:endParaRPr lang="en-US"/>
        </a:p>
      </dgm:t>
    </dgm:pt>
    <dgm:pt modelId="{D26B0635-68D6-4278-B0E3-D271D2627C20}">
      <dgm:prSet/>
      <dgm:spPr/>
      <dgm:t>
        <a:bodyPr/>
        <a:lstStyle/>
        <a:p>
          <a:pPr rtl="0"/>
          <a:r>
            <a:rPr lang="en-US" noProof="0"/>
            <a:t>Ubiquise test execution</a:t>
          </a:r>
        </a:p>
      </dgm:t>
    </dgm:pt>
    <dgm:pt modelId="{6A47D190-3EC7-4161-B6B4-C6369EDB890C}" type="parTrans" cxnId="{1EF4B1B5-1471-4574-8E88-BCE748A0E9D1}">
      <dgm:prSet/>
      <dgm:spPr/>
      <dgm:t>
        <a:bodyPr/>
        <a:lstStyle/>
        <a:p>
          <a:endParaRPr lang="en-US"/>
        </a:p>
      </dgm:t>
    </dgm:pt>
    <dgm:pt modelId="{611389CB-F9FE-4B11-B2AA-188D0D9B06A2}" type="sibTrans" cxnId="{1EF4B1B5-1471-4574-8E88-BCE748A0E9D1}">
      <dgm:prSet/>
      <dgm:spPr/>
      <dgm:t>
        <a:bodyPr/>
        <a:lstStyle/>
        <a:p>
          <a:endParaRPr lang="en-US"/>
        </a:p>
      </dgm:t>
    </dgm:pt>
    <dgm:pt modelId="{64A8789C-350E-44D2-9A17-3F33828D259A}">
      <dgm:prSet/>
      <dgm:spPr/>
      <dgm:t>
        <a:bodyPr/>
        <a:lstStyle/>
        <a:p>
          <a:pPr rtl="0"/>
          <a:r>
            <a:rPr lang="en-US" noProof="0"/>
            <a:t>locally</a:t>
          </a:r>
        </a:p>
      </dgm:t>
    </dgm:pt>
    <dgm:pt modelId="{D45682E4-DC55-48FD-9CDC-39517C8216FE}" type="parTrans" cxnId="{DAEC71B2-A394-4E7F-B641-2D23313138F7}">
      <dgm:prSet/>
      <dgm:spPr/>
      <dgm:t>
        <a:bodyPr/>
        <a:lstStyle/>
        <a:p>
          <a:endParaRPr lang="en-US"/>
        </a:p>
      </dgm:t>
    </dgm:pt>
    <dgm:pt modelId="{11B90280-D56C-4ED2-AE77-63B8A6EF53E0}" type="sibTrans" cxnId="{DAEC71B2-A394-4E7F-B641-2D23313138F7}">
      <dgm:prSet/>
      <dgm:spPr/>
      <dgm:t>
        <a:bodyPr/>
        <a:lstStyle/>
        <a:p>
          <a:endParaRPr lang="en-US"/>
        </a:p>
      </dgm:t>
    </dgm:pt>
    <dgm:pt modelId="{6A95AF4D-4456-484D-950B-23D5DC38C896}">
      <dgm:prSet/>
      <dgm:spPr/>
      <dgm:t>
        <a:bodyPr/>
        <a:lstStyle/>
        <a:p>
          <a:pPr rtl="0"/>
          <a:r>
            <a:rPr lang="en-US" noProof="0" dirty="0"/>
            <a:t>against Selenium Grid through Jenkins</a:t>
          </a:r>
        </a:p>
      </dgm:t>
    </dgm:pt>
    <dgm:pt modelId="{D86E17C2-5C0F-4663-B032-F72D5272CA51}" type="parTrans" cxnId="{650EE9A2-7387-458F-9049-7ADDB9AC6D35}">
      <dgm:prSet/>
      <dgm:spPr/>
      <dgm:t>
        <a:bodyPr/>
        <a:lstStyle/>
        <a:p>
          <a:endParaRPr lang="en-US"/>
        </a:p>
      </dgm:t>
    </dgm:pt>
    <dgm:pt modelId="{18C19F8D-741A-4C60-AC05-A22037FDA6C2}" type="sibTrans" cxnId="{650EE9A2-7387-458F-9049-7ADDB9AC6D35}">
      <dgm:prSet/>
      <dgm:spPr/>
      <dgm:t>
        <a:bodyPr/>
        <a:lstStyle/>
        <a:p>
          <a:endParaRPr lang="en-US"/>
        </a:p>
      </dgm:t>
    </dgm:pt>
    <dgm:pt modelId="{E24E19B4-BD5F-4FB0-AFA8-C7696256D0CA}">
      <dgm:prSet/>
      <dgm:spPr/>
      <dgm:t>
        <a:bodyPr/>
        <a:lstStyle/>
        <a:p>
          <a:pPr rtl="0"/>
          <a:r>
            <a:rPr lang="en-US" noProof="0" dirty="0"/>
            <a:t>Page Object Model architecture</a:t>
          </a:r>
        </a:p>
      </dgm:t>
    </dgm:pt>
    <dgm:pt modelId="{51F40666-4315-428D-9A23-066CF557C8AE}" type="parTrans" cxnId="{0D757D9E-022F-4884-8254-5F07E561BD26}">
      <dgm:prSet/>
      <dgm:spPr/>
      <dgm:t>
        <a:bodyPr/>
        <a:lstStyle/>
        <a:p>
          <a:endParaRPr lang="en-US"/>
        </a:p>
      </dgm:t>
    </dgm:pt>
    <dgm:pt modelId="{A292A7B0-03D8-4336-AA49-E72429F80A2E}" type="sibTrans" cxnId="{0D757D9E-022F-4884-8254-5F07E561BD26}">
      <dgm:prSet/>
      <dgm:spPr/>
      <dgm:t>
        <a:bodyPr/>
        <a:lstStyle/>
        <a:p>
          <a:endParaRPr lang="en-US"/>
        </a:p>
      </dgm:t>
    </dgm:pt>
    <dgm:pt modelId="{26EBBE04-78BE-447A-8F75-892A5AD8808D}">
      <dgm:prSet/>
      <dgm:spPr/>
      <dgm:t>
        <a:bodyPr/>
        <a:lstStyle/>
        <a:p>
          <a:pPr rtl="0"/>
          <a:r>
            <a:rPr lang="en-US" noProof="0" dirty="0"/>
            <a:t>Selenium </a:t>
          </a:r>
          <a:r>
            <a:rPr lang="en-US" noProof="0" dirty="0" err="1"/>
            <a:t>WebDriver</a:t>
          </a:r>
          <a:r>
            <a:rPr lang="en-US" noProof="0" dirty="0"/>
            <a:t> with Java </a:t>
          </a:r>
        </a:p>
      </dgm:t>
    </dgm:pt>
    <dgm:pt modelId="{5C8BA2A2-FEBD-4C2C-8838-093E29686C95}" type="parTrans" cxnId="{92F9F948-D423-4D72-BED7-E5830FC7962D}">
      <dgm:prSet/>
      <dgm:spPr/>
      <dgm:t>
        <a:bodyPr/>
        <a:lstStyle/>
        <a:p>
          <a:endParaRPr lang="en-US"/>
        </a:p>
      </dgm:t>
    </dgm:pt>
    <dgm:pt modelId="{5A18B691-9E8B-4342-ADF3-AB1F0BF9694B}" type="sibTrans" cxnId="{92F9F948-D423-4D72-BED7-E5830FC7962D}">
      <dgm:prSet/>
      <dgm:spPr/>
      <dgm:t>
        <a:bodyPr/>
        <a:lstStyle/>
        <a:p>
          <a:endParaRPr lang="en-US"/>
        </a:p>
      </dgm:t>
    </dgm:pt>
    <dgm:pt modelId="{F2DE8CB4-55F8-4C9C-BECC-2E551E0A7FD4}">
      <dgm:prSet/>
      <dgm:spPr/>
      <dgm:t>
        <a:bodyPr/>
        <a:lstStyle/>
        <a:p>
          <a:r>
            <a:rPr lang="pl-PL" dirty="0"/>
            <a:t>Map page actions</a:t>
          </a:r>
          <a:endParaRPr lang="en-US" dirty="0"/>
        </a:p>
      </dgm:t>
    </dgm:pt>
    <dgm:pt modelId="{020740B2-B0FD-4F15-9250-56FB28484F03}" type="parTrans" cxnId="{F73D365A-2565-46F4-84F3-091061AA4516}">
      <dgm:prSet/>
      <dgm:spPr/>
      <dgm:t>
        <a:bodyPr/>
        <a:lstStyle/>
        <a:p>
          <a:endParaRPr lang="en-US"/>
        </a:p>
      </dgm:t>
    </dgm:pt>
    <dgm:pt modelId="{B6B1C02D-B5B3-425D-92D8-01D09F216BCD}" type="sibTrans" cxnId="{F73D365A-2565-46F4-84F3-091061AA4516}">
      <dgm:prSet/>
      <dgm:spPr/>
      <dgm:t>
        <a:bodyPr/>
        <a:lstStyle/>
        <a:p>
          <a:endParaRPr lang="en-US"/>
        </a:p>
      </dgm:t>
    </dgm:pt>
    <dgm:pt modelId="{CEB7E90F-846C-4113-A9D7-A3D0D5439447}">
      <dgm:prSet/>
      <dgm:spPr/>
      <dgm:t>
        <a:bodyPr/>
        <a:lstStyle/>
        <a:p>
          <a:r>
            <a:rPr lang="pl-PL" dirty="0"/>
            <a:t>Seprate business actions</a:t>
          </a:r>
          <a:endParaRPr lang="en-US" dirty="0"/>
        </a:p>
      </dgm:t>
    </dgm:pt>
    <dgm:pt modelId="{914DF184-54D7-472D-A259-FCDB425054EF}" type="parTrans" cxnId="{993FE18C-580D-4FB9-91A2-85F1C7893ACE}">
      <dgm:prSet/>
      <dgm:spPr/>
      <dgm:t>
        <a:bodyPr/>
        <a:lstStyle/>
        <a:p>
          <a:endParaRPr lang="en-US"/>
        </a:p>
      </dgm:t>
    </dgm:pt>
    <dgm:pt modelId="{A7FFF0D5-B612-4437-89E4-4314AD8BF392}" type="sibTrans" cxnId="{993FE18C-580D-4FB9-91A2-85F1C7893ACE}">
      <dgm:prSet/>
      <dgm:spPr/>
      <dgm:t>
        <a:bodyPr/>
        <a:lstStyle/>
        <a:p>
          <a:endParaRPr lang="en-US"/>
        </a:p>
      </dgm:t>
    </dgm:pt>
    <dgm:pt modelId="{38F774A8-0CB7-46AC-8CC5-699B94A7F8C3}">
      <dgm:prSet/>
      <dgm:spPr/>
      <dgm:t>
        <a:bodyPr/>
        <a:lstStyle/>
        <a:p>
          <a:r>
            <a:rPr lang="pl-PL" dirty="0"/>
            <a:t>Web driver </a:t>
          </a:r>
          <a:r>
            <a:rPr lang="pl-PL"/>
            <a:t>auto downloder</a:t>
          </a:r>
          <a:endParaRPr lang="en-US" dirty="0"/>
        </a:p>
      </dgm:t>
    </dgm:pt>
    <dgm:pt modelId="{05F255AA-B5D8-4227-9165-D2E14EA97026}" type="parTrans" cxnId="{B34A89C7-686F-4C47-84D5-9CB27223F76B}">
      <dgm:prSet/>
      <dgm:spPr/>
      <dgm:t>
        <a:bodyPr/>
        <a:lstStyle/>
        <a:p>
          <a:endParaRPr lang="en-US"/>
        </a:p>
      </dgm:t>
    </dgm:pt>
    <dgm:pt modelId="{2AD1EFA7-4EB0-4AB3-A1DA-54419B2F07CE}" type="sibTrans" cxnId="{B34A89C7-686F-4C47-84D5-9CB27223F76B}">
      <dgm:prSet/>
      <dgm:spPr/>
      <dgm:t>
        <a:bodyPr/>
        <a:lstStyle/>
        <a:p>
          <a:endParaRPr lang="en-US"/>
        </a:p>
      </dgm:t>
    </dgm:pt>
    <dgm:pt modelId="{5C5748D3-8712-4951-A939-97FAB9A4D41E}" type="pres">
      <dgm:prSet presAssocID="{B9C32B05-62EA-407A-B21C-2310C7945705}" presName="Name0" presStyleCnt="0">
        <dgm:presLayoutVars>
          <dgm:chMax val="7"/>
          <dgm:dir/>
          <dgm:resizeHandles val="exact"/>
        </dgm:presLayoutVars>
      </dgm:prSet>
      <dgm:spPr/>
    </dgm:pt>
    <dgm:pt modelId="{55466EC6-31DD-4CAB-9FC8-154C1AAA4E91}" type="pres">
      <dgm:prSet presAssocID="{B9C32B05-62EA-407A-B21C-2310C7945705}" presName="ellipse1" presStyleLbl="vennNode1" presStyleIdx="0" presStyleCnt="6">
        <dgm:presLayoutVars>
          <dgm:bulletEnabled val="1"/>
        </dgm:presLayoutVars>
      </dgm:prSet>
      <dgm:spPr/>
    </dgm:pt>
    <dgm:pt modelId="{89AA0001-53DF-4E74-BA55-C8324EBB5F27}" type="pres">
      <dgm:prSet presAssocID="{B9C32B05-62EA-407A-B21C-2310C7945705}" presName="ellipse2" presStyleLbl="vennNode1" presStyleIdx="1" presStyleCnt="6">
        <dgm:presLayoutVars>
          <dgm:bulletEnabled val="1"/>
        </dgm:presLayoutVars>
      </dgm:prSet>
      <dgm:spPr/>
    </dgm:pt>
    <dgm:pt modelId="{7EE7E7DC-AA37-4BF4-8B05-59860A2202AA}" type="pres">
      <dgm:prSet presAssocID="{B9C32B05-62EA-407A-B21C-2310C7945705}" presName="ellipse3" presStyleLbl="vennNode1" presStyleIdx="2" presStyleCnt="6">
        <dgm:presLayoutVars>
          <dgm:bulletEnabled val="1"/>
        </dgm:presLayoutVars>
      </dgm:prSet>
      <dgm:spPr/>
    </dgm:pt>
    <dgm:pt modelId="{61B7D573-077C-4A72-A053-42A3061B5CCC}" type="pres">
      <dgm:prSet presAssocID="{B9C32B05-62EA-407A-B21C-2310C7945705}" presName="ellipse4" presStyleLbl="vennNode1" presStyleIdx="3" presStyleCnt="6">
        <dgm:presLayoutVars>
          <dgm:bulletEnabled val="1"/>
        </dgm:presLayoutVars>
      </dgm:prSet>
      <dgm:spPr/>
    </dgm:pt>
    <dgm:pt modelId="{D58DCFBC-93CE-4770-8C0B-177886CF1F2C}" type="pres">
      <dgm:prSet presAssocID="{B9C32B05-62EA-407A-B21C-2310C7945705}" presName="ellipse5" presStyleLbl="vennNode1" presStyleIdx="4" presStyleCnt="6">
        <dgm:presLayoutVars>
          <dgm:bulletEnabled val="1"/>
        </dgm:presLayoutVars>
      </dgm:prSet>
      <dgm:spPr/>
    </dgm:pt>
    <dgm:pt modelId="{C6BA4834-243B-47C6-8825-9993C8E7B076}" type="pres">
      <dgm:prSet presAssocID="{B9C32B05-62EA-407A-B21C-2310C7945705}" presName="ellipse6" presStyleLbl="vennNode1" presStyleIdx="5" presStyleCnt="6">
        <dgm:presLayoutVars>
          <dgm:bulletEnabled val="1"/>
        </dgm:presLayoutVars>
      </dgm:prSet>
      <dgm:spPr/>
    </dgm:pt>
  </dgm:ptLst>
  <dgm:cxnLst>
    <dgm:cxn modelId="{45FBB309-C824-4356-B797-FBA6A76B3E02}" srcId="{9FB53499-B67D-42DB-9333-AB3B047EC570}" destId="{FBF93382-5200-434B-A91C-CEB90CBB4146}" srcOrd="0" destOrd="0" parTransId="{7C6BF579-D484-447C-9026-F0B01C2CFD53}" sibTransId="{DFD1DFDD-C365-4F20-A1D3-4B9BC91C7EF6}"/>
    <dgm:cxn modelId="{E5BB310B-6225-44C7-855E-E88F145EF2D3}" type="presOf" srcId="{19E079BF-53EA-4B60-B040-3FB1A4EA2BB1}" destId="{55466EC6-31DD-4CAB-9FC8-154C1AAA4E91}" srcOrd="0" destOrd="2" presId="urn:microsoft.com/office/officeart/2005/8/layout/rings+Icon"/>
    <dgm:cxn modelId="{88A3CE0C-EA06-4ACB-B7F8-954ACFDBD399}" srcId="{B9C32B05-62EA-407A-B21C-2310C7945705}" destId="{AD4C2D61-2A02-4B4A-9B2D-233D1EF67014}" srcOrd="2" destOrd="0" parTransId="{A4652952-0C6C-4BD3-8B47-A6867FB8D7AF}" sibTransId="{4388A7BC-2E8F-42C0-99F0-BD8AFC70FF93}"/>
    <dgm:cxn modelId="{CF117416-48A5-4D54-A710-3685034E7515}" type="presOf" srcId="{8EA7219F-BDB2-48EB-9EEB-3133522D132E}" destId="{55466EC6-31DD-4CAB-9FC8-154C1AAA4E91}" srcOrd="0" destOrd="0" presId="urn:microsoft.com/office/officeart/2005/8/layout/rings+Icon"/>
    <dgm:cxn modelId="{A18BE416-0518-4BBD-9052-0EC1D342934C}" type="presOf" srcId="{B9C32B05-62EA-407A-B21C-2310C7945705}" destId="{5C5748D3-8712-4951-A939-97FAB9A4D41E}" srcOrd="0" destOrd="0" presId="urn:microsoft.com/office/officeart/2005/8/layout/rings+Icon"/>
    <dgm:cxn modelId="{FACF622A-2FEB-4D00-8AA6-88E056D3E72F}" srcId="{9FB53499-B67D-42DB-9333-AB3B047EC570}" destId="{913983E9-B5E4-44BA-8607-C6FCCD40353D}" srcOrd="1" destOrd="0" parTransId="{BB5CBC84-32EA-4775-94B8-1EBD3DC522BC}" sibTransId="{7B74EC3A-76D8-4201-9D60-9E0F9E7B5A44}"/>
    <dgm:cxn modelId="{9761482E-4823-4118-9921-16CF13B49498}" srcId="{9FB53499-B67D-42DB-9333-AB3B047EC570}" destId="{72DD1467-9FDA-420A-B214-692A61CDD8E9}" srcOrd="2" destOrd="0" parTransId="{8D94AE81-AF4A-4263-9F07-E6D1AF197B5C}" sibTransId="{DBB86D1F-D3C7-4B46-8E0A-E7042D1DBDA5}"/>
    <dgm:cxn modelId="{00700C46-1C88-4C88-95BD-933818E98E7E}" type="presOf" srcId="{D26B0635-68D6-4278-B0E3-D271D2627C20}" destId="{61B7D573-077C-4A72-A053-42A3061B5CCC}" srcOrd="0" destOrd="0" presId="urn:microsoft.com/office/officeart/2005/8/layout/rings+Icon"/>
    <dgm:cxn modelId="{3A722846-7EA4-4B42-9A39-2569EA3C7FE1}" type="presOf" srcId="{F2DE8CB4-55F8-4C9C-BECC-2E551E0A7FD4}" destId="{D58DCFBC-93CE-4770-8C0B-177886CF1F2C}" srcOrd="0" destOrd="1" presId="urn:microsoft.com/office/officeart/2005/8/layout/rings+Icon"/>
    <dgm:cxn modelId="{09DDA868-3DD0-46AC-8837-C70A21DF7FCB}" type="presOf" srcId="{AD4C2D61-2A02-4B4A-9B2D-233D1EF67014}" destId="{7EE7E7DC-AA37-4BF4-8B05-59860A2202AA}" srcOrd="0" destOrd="0" presId="urn:microsoft.com/office/officeart/2005/8/layout/rings+Icon"/>
    <dgm:cxn modelId="{92F9F948-D423-4D72-BED7-E5830FC7962D}" srcId="{B9C32B05-62EA-407A-B21C-2310C7945705}" destId="{26EBBE04-78BE-447A-8F75-892A5AD8808D}" srcOrd="5" destOrd="0" parTransId="{5C8BA2A2-FEBD-4C2C-8838-093E29686C95}" sibTransId="{5A18B691-9E8B-4342-ADF3-AB1F0BF9694B}"/>
    <dgm:cxn modelId="{27F60469-3B04-4698-8738-1B09E349ACA0}" srcId="{AD4C2D61-2A02-4B4A-9B2D-233D1EF67014}" destId="{0C0E1443-1694-494D-9269-001C2F2D37D3}" srcOrd="1" destOrd="0" parTransId="{76ACEAEA-B6D8-4590-830A-A12CC2FEB6C5}" sibTransId="{F0CCE2F3-BC22-4EEF-B425-A4B12586CA8A}"/>
    <dgm:cxn modelId="{2C20B44F-EF26-4F85-9C41-7B0FB8398D75}" type="presOf" srcId="{72DD1467-9FDA-420A-B214-692A61CDD8E9}" destId="{89AA0001-53DF-4E74-BA55-C8324EBB5F27}" srcOrd="0" destOrd="3" presId="urn:microsoft.com/office/officeart/2005/8/layout/rings+Icon"/>
    <dgm:cxn modelId="{8561E74F-432F-46DF-85B4-7FEFFC010E8D}" type="presOf" srcId="{CEB7E90F-846C-4113-A9D7-A3D0D5439447}" destId="{D58DCFBC-93CE-4770-8C0B-177886CF1F2C}" srcOrd="0" destOrd="2" presId="urn:microsoft.com/office/officeart/2005/8/layout/rings+Icon"/>
    <dgm:cxn modelId="{0D6B0F50-BA58-490C-87AC-2BC2B4C30C7A}" type="presOf" srcId="{0C0E1443-1694-494D-9269-001C2F2D37D3}" destId="{7EE7E7DC-AA37-4BF4-8B05-59860A2202AA}" srcOrd="0" destOrd="2" presId="urn:microsoft.com/office/officeart/2005/8/layout/rings+Icon"/>
    <dgm:cxn modelId="{18AE8450-6220-408C-B8F3-0A309C6B8B07}" type="presOf" srcId="{868BDDD6-4F83-4D1B-BC7E-9AEED628F007}" destId="{55466EC6-31DD-4CAB-9FC8-154C1AAA4E91}" srcOrd="0" destOrd="1" presId="urn:microsoft.com/office/officeart/2005/8/layout/rings+Icon"/>
    <dgm:cxn modelId="{3E4FF556-1D62-4F00-B645-88DFE666C7D2}" srcId="{AD4C2D61-2A02-4B4A-9B2D-233D1EF67014}" destId="{66F246F0-AB1F-4BAE-B877-A96E77E818FA}" srcOrd="0" destOrd="0" parTransId="{F986946E-474A-47E6-94D6-06CFCA1F7F7E}" sibTransId="{4AF1E2AC-1F8C-43AD-A246-47C3D818B6C8}"/>
    <dgm:cxn modelId="{F73D365A-2565-46F4-84F3-091061AA4516}" srcId="{E24E19B4-BD5F-4FB0-AFA8-C7696256D0CA}" destId="{F2DE8CB4-55F8-4C9C-BECC-2E551E0A7FD4}" srcOrd="0" destOrd="0" parTransId="{020740B2-B0FD-4F15-9250-56FB28484F03}" sibTransId="{B6B1C02D-B5B3-425D-92D8-01D09F216BCD}"/>
    <dgm:cxn modelId="{6D45E185-333D-43BE-A4EC-2C1A2C2FBB05}" type="presOf" srcId="{6A95AF4D-4456-484D-950B-23D5DC38C896}" destId="{61B7D573-077C-4A72-A053-42A3061B5CCC}" srcOrd="0" destOrd="2" presId="urn:microsoft.com/office/officeart/2005/8/layout/rings+Icon"/>
    <dgm:cxn modelId="{FECE6188-A55D-47FD-BBB3-1B3CBEA96E60}" type="presOf" srcId="{9FB53499-B67D-42DB-9333-AB3B047EC570}" destId="{89AA0001-53DF-4E74-BA55-C8324EBB5F27}" srcOrd="0" destOrd="0" presId="urn:microsoft.com/office/officeart/2005/8/layout/rings+Icon"/>
    <dgm:cxn modelId="{993FE18C-580D-4FB9-91A2-85F1C7893ACE}" srcId="{E24E19B4-BD5F-4FB0-AFA8-C7696256D0CA}" destId="{CEB7E90F-846C-4113-A9D7-A3D0D5439447}" srcOrd="1" destOrd="0" parTransId="{914DF184-54D7-472D-A259-FCDB425054EF}" sibTransId="{A7FFF0D5-B612-4437-89E4-4314AD8BF392}"/>
    <dgm:cxn modelId="{57D8208E-6B46-44FD-812F-BADE41DA979B}" srcId="{B9C32B05-62EA-407A-B21C-2310C7945705}" destId="{9FB53499-B67D-42DB-9333-AB3B047EC570}" srcOrd="1" destOrd="0" parTransId="{A5F0FFBF-9804-4BA4-8A11-A598BA9BB685}" sibTransId="{8036B4EC-5C39-479B-83C1-85E26BBD7E12}"/>
    <dgm:cxn modelId="{601AC79C-6074-402F-9AD2-92F17049D339}" type="presOf" srcId="{913983E9-B5E4-44BA-8607-C6FCCD40353D}" destId="{89AA0001-53DF-4E74-BA55-C8324EBB5F27}" srcOrd="0" destOrd="2" presId="urn:microsoft.com/office/officeart/2005/8/layout/rings+Icon"/>
    <dgm:cxn modelId="{0D757D9E-022F-4884-8254-5F07E561BD26}" srcId="{B9C32B05-62EA-407A-B21C-2310C7945705}" destId="{E24E19B4-BD5F-4FB0-AFA8-C7696256D0CA}" srcOrd="4" destOrd="0" parTransId="{51F40666-4315-428D-9A23-066CF557C8AE}" sibTransId="{A292A7B0-03D8-4336-AA49-E72429F80A2E}"/>
    <dgm:cxn modelId="{650EE9A2-7387-458F-9049-7ADDB9AC6D35}" srcId="{D26B0635-68D6-4278-B0E3-D271D2627C20}" destId="{6A95AF4D-4456-484D-950B-23D5DC38C896}" srcOrd="1" destOrd="0" parTransId="{D86E17C2-5C0F-4663-B032-F72D5272CA51}" sibTransId="{18C19F8D-741A-4C60-AC05-A22037FDA6C2}"/>
    <dgm:cxn modelId="{42986DAC-9B7D-4A3E-8F9C-741123721FF6}" type="presOf" srcId="{38F774A8-0CB7-46AC-8CC5-699B94A7F8C3}" destId="{C6BA4834-243B-47C6-8825-9993C8E7B076}" srcOrd="0" destOrd="1" presId="urn:microsoft.com/office/officeart/2005/8/layout/rings+Icon"/>
    <dgm:cxn modelId="{DC390FAD-5302-4C7C-9E17-3C470ABC6DE3}" srcId="{8EA7219F-BDB2-48EB-9EEB-3133522D132E}" destId="{868BDDD6-4F83-4D1B-BC7E-9AEED628F007}" srcOrd="0" destOrd="0" parTransId="{95FD810E-B0B5-41EA-9E04-0F32678CB89F}" sibTransId="{D1AB5CCA-E578-47A2-80E6-390674FD9EFC}"/>
    <dgm:cxn modelId="{6B1FCDAE-F531-4C08-B15D-1C2AF1ACEE8A}" srcId="{8EA7219F-BDB2-48EB-9EEB-3133522D132E}" destId="{19E079BF-53EA-4B60-B040-3FB1A4EA2BB1}" srcOrd="1" destOrd="0" parTransId="{9C4627EE-83AB-46C3-9792-E7D4FA4A3DDF}" sibTransId="{C65CB558-25BB-4BA1-ACDD-59C1C2367D03}"/>
    <dgm:cxn modelId="{DAEC71B2-A394-4E7F-B641-2D23313138F7}" srcId="{D26B0635-68D6-4278-B0E3-D271D2627C20}" destId="{64A8789C-350E-44D2-9A17-3F33828D259A}" srcOrd="0" destOrd="0" parTransId="{D45682E4-DC55-48FD-9CDC-39517C8216FE}" sibTransId="{11B90280-D56C-4ED2-AE77-63B8A6EF53E0}"/>
    <dgm:cxn modelId="{1EF4B1B5-1471-4574-8E88-BCE748A0E9D1}" srcId="{B9C32B05-62EA-407A-B21C-2310C7945705}" destId="{D26B0635-68D6-4278-B0E3-D271D2627C20}" srcOrd="3" destOrd="0" parTransId="{6A47D190-3EC7-4161-B6B4-C6369EDB890C}" sibTransId="{611389CB-F9FE-4B11-B2AA-188D0D9B06A2}"/>
    <dgm:cxn modelId="{94E110C0-F690-4D13-8DA3-B4ACF056D7DA}" type="presOf" srcId="{FBF93382-5200-434B-A91C-CEB90CBB4146}" destId="{89AA0001-53DF-4E74-BA55-C8324EBB5F27}" srcOrd="0" destOrd="1" presId="urn:microsoft.com/office/officeart/2005/8/layout/rings+Icon"/>
    <dgm:cxn modelId="{B34A89C7-686F-4C47-84D5-9CB27223F76B}" srcId="{26EBBE04-78BE-447A-8F75-892A5AD8808D}" destId="{38F774A8-0CB7-46AC-8CC5-699B94A7F8C3}" srcOrd="0" destOrd="0" parTransId="{05F255AA-B5D8-4227-9165-D2E14EA97026}" sibTransId="{2AD1EFA7-4EB0-4AB3-A1DA-54419B2F07CE}"/>
    <dgm:cxn modelId="{AFAB32DE-7DDE-4093-BB2A-BF648D65775B}" type="presOf" srcId="{66F246F0-AB1F-4BAE-B877-A96E77E818FA}" destId="{7EE7E7DC-AA37-4BF4-8B05-59860A2202AA}" srcOrd="0" destOrd="1" presId="urn:microsoft.com/office/officeart/2005/8/layout/rings+Icon"/>
    <dgm:cxn modelId="{A0B062E9-D11B-4DA4-9397-8874F6A055B8}" type="presOf" srcId="{64A8789C-350E-44D2-9A17-3F33828D259A}" destId="{61B7D573-077C-4A72-A053-42A3061B5CCC}" srcOrd="0" destOrd="1" presId="urn:microsoft.com/office/officeart/2005/8/layout/rings+Icon"/>
    <dgm:cxn modelId="{58AD7EEF-D408-406B-87EE-4691D4C30668}" srcId="{B9C32B05-62EA-407A-B21C-2310C7945705}" destId="{8EA7219F-BDB2-48EB-9EEB-3133522D132E}" srcOrd="0" destOrd="0" parTransId="{3EE8403A-CB7C-4815-85BD-AEBCAEB71B37}" sibTransId="{C94B7947-85DC-4B21-BB99-DF8438356F98}"/>
    <dgm:cxn modelId="{6CCE16F8-F67B-4688-AF7C-399C8A1F5C4B}" type="presOf" srcId="{26EBBE04-78BE-447A-8F75-892A5AD8808D}" destId="{C6BA4834-243B-47C6-8825-9993C8E7B076}" srcOrd="0" destOrd="0" presId="urn:microsoft.com/office/officeart/2005/8/layout/rings+Icon"/>
    <dgm:cxn modelId="{25C8DBF9-50F8-4D6F-9878-A89E41CAD247}" type="presOf" srcId="{E24E19B4-BD5F-4FB0-AFA8-C7696256D0CA}" destId="{D58DCFBC-93CE-4770-8C0B-177886CF1F2C}" srcOrd="0" destOrd="0" presId="urn:microsoft.com/office/officeart/2005/8/layout/rings+Icon"/>
    <dgm:cxn modelId="{9FC4C5B2-6048-4E12-AAED-2837B7F4BB40}" type="presParOf" srcId="{5C5748D3-8712-4951-A939-97FAB9A4D41E}" destId="{55466EC6-31DD-4CAB-9FC8-154C1AAA4E91}" srcOrd="0" destOrd="0" presId="urn:microsoft.com/office/officeart/2005/8/layout/rings+Icon"/>
    <dgm:cxn modelId="{4877894C-85BC-435C-863E-5953D9C5729B}" type="presParOf" srcId="{5C5748D3-8712-4951-A939-97FAB9A4D41E}" destId="{89AA0001-53DF-4E74-BA55-C8324EBB5F27}" srcOrd="1" destOrd="0" presId="urn:microsoft.com/office/officeart/2005/8/layout/rings+Icon"/>
    <dgm:cxn modelId="{03FD9152-743D-4CA5-A1DF-5AF967118720}" type="presParOf" srcId="{5C5748D3-8712-4951-A939-97FAB9A4D41E}" destId="{7EE7E7DC-AA37-4BF4-8B05-59860A2202AA}" srcOrd="2" destOrd="0" presId="urn:microsoft.com/office/officeart/2005/8/layout/rings+Icon"/>
    <dgm:cxn modelId="{B4825DA9-A631-4233-883B-58334DC4E51B}" type="presParOf" srcId="{5C5748D3-8712-4951-A939-97FAB9A4D41E}" destId="{61B7D573-077C-4A72-A053-42A3061B5CCC}" srcOrd="3" destOrd="0" presId="urn:microsoft.com/office/officeart/2005/8/layout/rings+Icon"/>
    <dgm:cxn modelId="{F55C885C-219F-4A31-9C33-41F689F63081}" type="presParOf" srcId="{5C5748D3-8712-4951-A939-97FAB9A4D41E}" destId="{D58DCFBC-93CE-4770-8C0B-177886CF1F2C}" srcOrd="4" destOrd="0" presId="urn:microsoft.com/office/officeart/2005/8/layout/rings+Icon"/>
    <dgm:cxn modelId="{8CBCA88F-0A44-45C3-81F8-0B463A6B62E4}" type="presParOf" srcId="{5C5748D3-8712-4951-A939-97FAB9A4D41E}" destId="{C6BA4834-243B-47C6-8825-9993C8E7B076}" srcOrd="5" destOrd="0" presId="urn:microsoft.com/office/officeart/2005/8/layout/rings+Icon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E9A8CE-3672-466D-8017-B86ADCCAD7C6}" type="doc">
      <dgm:prSet loTypeId="urn:microsoft.com/office/officeart/2005/8/layout/matrix1" loCatId="matrix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990E2F29-8333-40BE-999D-F3E7B8B4B4FC}">
      <dgm:prSet phldrT="[Text]"/>
      <dgm:spPr/>
      <dgm:t>
        <a:bodyPr/>
        <a:lstStyle/>
        <a:p>
          <a:r>
            <a:rPr lang="pl-PL" dirty="0"/>
            <a:t>E2E test in </a:t>
          </a:r>
          <a:br>
            <a:rPr lang="pl-PL" dirty="0"/>
          </a:br>
          <a:r>
            <a:rPr lang="pl-PL" dirty="0"/>
            <a:t>one file</a:t>
          </a:r>
          <a:endParaRPr lang="en-US" dirty="0"/>
        </a:p>
      </dgm:t>
    </dgm:pt>
    <dgm:pt modelId="{44F7A50A-EC4F-4F09-B521-8BF5992842C7}" type="parTrans" cxnId="{53E57B2F-6094-4D79-A9DA-514430965C19}">
      <dgm:prSet/>
      <dgm:spPr/>
      <dgm:t>
        <a:bodyPr/>
        <a:lstStyle/>
        <a:p>
          <a:endParaRPr lang="en-US"/>
        </a:p>
      </dgm:t>
    </dgm:pt>
    <dgm:pt modelId="{83F7CF39-50B3-42CE-B715-9A826E6E0FC2}" type="sibTrans" cxnId="{53E57B2F-6094-4D79-A9DA-514430965C19}">
      <dgm:prSet/>
      <dgm:spPr/>
      <dgm:t>
        <a:bodyPr/>
        <a:lstStyle/>
        <a:p>
          <a:endParaRPr lang="en-US"/>
        </a:p>
      </dgm:t>
    </dgm:pt>
    <dgm:pt modelId="{40065E22-895C-4585-9AA4-44EA553CCF2A}">
      <dgm:prSet phldrT="[Text]"/>
      <dgm:spPr/>
      <dgm:t>
        <a:bodyPr/>
        <a:lstStyle/>
        <a:p>
          <a:r>
            <a:rPr lang="en-US" noProof="0" dirty="0"/>
            <a:t>Core functions  </a:t>
          </a:r>
          <a:br>
            <a:rPr lang="en-US" noProof="0" dirty="0"/>
          </a:br>
          <a:r>
            <a:rPr lang="en-US" noProof="0" dirty="0"/>
            <a:t>(Java</a:t>
          </a:r>
          <a:r>
            <a:rPr lang="pl-PL" noProof="0" dirty="0"/>
            <a:t>, </a:t>
          </a:r>
          <a:r>
            <a:rPr lang="en-US" noProof="0" dirty="0"/>
            <a:t>Cucumber)</a:t>
          </a:r>
        </a:p>
      </dgm:t>
    </dgm:pt>
    <dgm:pt modelId="{AA906743-CBE7-488F-88EB-8F66DCDC5767}" type="parTrans" cxnId="{D1E48F10-BC47-4663-ACF8-BCC8B27F2D4F}">
      <dgm:prSet/>
      <dgm:spPr/>
      <dgm:t>
        <a:bodyPr/>
        <a:lstStyle/>
        <a:p>
          <a:endParaRPr lang="en-US"/>
        </a:p>
      </dgm:t>
    </dgm:pt>
    <dgm:pt modelId="{354D7CB3-9BFA-4FFD-AB7B-C5B86E0F3D3C}" type="sibTrans" cxnId="{D1E48F10-BC47-4663-ACF8-BCC8B27F2D4F}">
      <dgm:prSet/>
      <dgm:spPr/>
      <dgm:t>
        <a:bodyPr/>
        <a:lstStyle/>
        <a:p>
          <a:endParaRPr lang="en-US"/>
        </a:p>
      </dgm:t>
    </dgm:pt>
    <dgm:pt modelId="{52AC40BC-B1B5-4D19-B3FC-71BE2FEBE665}">
      <dgm:prSet phldrT="[Text]"/>
      <dgm:spPr/>
      <dgm:t>
        <a:bodyPr/>
        <a:lstStyle/>
        <a:p>
          <a:r>
            <a:rPr lang="pl-PL" dirty="0"/>
            <a:t>UI </a:t>
          </a:r>
          <a:r>
            <a:rPr lang="en-US" noProof="0" dirty="0"/>
            <a:t>module</a:t>
          </a:r>
          <a:br>
            <a:rPr lang="en-US" noProof="0" dirty="0"/>
          </a:br>
          <a:r>
            <a:rPr lang="en-US" noProof="0" dirty="0"/>
            <a:t>(Selenium)</a:t>
          </a:r>
        </a:p>
      </dgm:t>
    </dgm:pt>
    <dgm:pt modelId="{3CC6E199-9A51-4E42-A27F-5F90E8A5FA86}" type="parTrans" cxnId="{7D77F129-3F82-478B-8471-57F1614F3A56}">
      <dgm:prSet/>
      <dgm:spPr/>
      <dgm:t>
        <a:bodyPr/>
        <a:lstStyle/>
        <a:p>
          <a:endParaRPr lang="en-US"/>
        </a:p>
      </dgm:t>
    </dgm:pt>
    <dgm:pt modelId="{A1C0CD16-C94C-41E2-925E-E1B4305C07F1}" type="sibTrans" cxnId="{7D77F129-3F82-478B-8471-57F1614F3A56}">
      <dgm:prSet/>
      <dgm:spPr/>
      <dgm:t>
        <a:bodyPr/>
        <a:lstStyle/>
        <a:p>
          <a:endParaRPr lang="en-US"/>
        </a:p>
      </dgm:t>
    </dgm:pt>
    <dgm:pt modelId="{BF852B65-2A5D-485E-B184-15DA72C96801}">
      <dgm:prSet phldrT="[Text]"/>
      <dgm:spPr/>
      <dgm:t>
        <a:bodyPr/>
        <a:lstStyle/>
        <a:p>
          <a:r>
            <a:rPr lang="en-US" noProof="0" dirty="0" err="1"/>
            <a:t>WebService</a:t>
          </a:r>
          <a:r>
            <a:rPr lang="en-US" noProof="0" dirty="0"/>
            <a:t> module</a:t>
          </a:r>
          <a:br>
            <a:rPr lang="pl-PL" dirty="0"/>
          </a:br>
          <a:r>
            <a:rPr lang="pl-PL" dirty="0"/>
            <a:t>(REST, SOAP)</a:t>
          </a:r>
          <a:endParaRPr lang="en-US" dirty="0"/>
        </a:p>
      </dgm:t>
    </dgm:pt>
    <dgm:pt modelId="{5328FA42-7710-4EE2-B600-612DBFF168A1}" type="parTrans" cxnId="{187F2D5A-95B8-46A8-8E09-3B00EAC92621}">
      <dgm:prSet/>
      <dgm:spPr/>
      <dgm:t>
        <a:bodyPr/>
        <a:lstStyle/>
        <a:p>
          <a:endParaRPr lang="en-US"/>
        </a:p>
      </dgm:t>
    </dgm:pt>
    <dgm:pt modelId="{0F8540B4-FEF8-4CBD-AE64-A5559E918238}" type="sibTrans" cxnId="{187F2D5A-95B8-46A8-8E09-3B00EAC92621}">
      <dgm:prSet/>
      <dgm:spPr/>
      <dgm:t>
        <a:bodyPr/>
        <a:lstStyle/>
        <a:p>
          <a:endParaRPr lang="en-US"/>
        </a:p>
      </dgm:t>
    </dgm:pt>
    <dgm:pt modelId="{D423C0A7-C037-4C0B-827D-C881C1D4CBDB}">
      <dgm:prSet phldrT="[Text]"/>
      <dgm:spPr/>
      <dgm:t>
        <a:bodyPr/>
        <a:lstStyle/>
        <a:p>
          <a:r>
            <a:rPr lang="en-US" noProof="0" dirty="0" err="1"/>
            <a:t>DataBase</a:t>
          </a:r>
          <a:r>
            <a:rPr lang="en-US" noProof="0" dirty="0"/>
            <a:t> module</a:t>
          </a:r>
          <a:br>
            <a:rPr lang="en-US" noProof="0" dirty="0"/>
          </a:br>
          <a:r>
            <a:rPr lang="en-US" noProof="0" dirty="0"/>
            <a:t>(Oracle, Cassandra</a:t>
          </a:r>
          <a:r>
            <a:rPr lang="pl-PL" dirty="0"/>
            <a:t>)</a:t>
          </a:r>
          <a:endParaRPr lang="en-US" dirty="0"/>
        </a:p>
      </dgm:t>
    </dgm:pt>
    <dgm:pt modelId="{A2048480-6E88-4CA6-9E68-D278006BD8CF}" type="parTrans" cxnId="{A18A9621-B6C2-487D-A2F8-F8B962F110A9}">
      <dgm:prSet/>
      <dgm:spPr/>
      <dgm:t>
        <a:bodyPr/>
        <a:lstStyle/>
        <a:p>
          <a:endParaRPr lang="en-US"/>
        </a:p>
      </dgm:t>
    </dgm:pt>
    <dgm:pt modelId="{0EBE7C54-2E6F-438D-BE78-2AABDC10008C}" type="sibTrans" cxnId="{A18A9621-B6C2-487D-A2F8-F8B962F110A9}">
      <dgm:prSet/>
      <dgm:spPr/>
      <dgm:t>
        <a:bodyPr/>
        <a:lstStyle/>
        <a:p>
          <a:endParaRPr lang="en-US"/>
        </a:p>
      </dgm:t>
    </dgm:pt>
    <dgm:pt modelId="{E61B37B7-C941-41C8-B46C-52666FC1C4F8}" type="pres">
      <dgm:prSet presAssocID="{60E9A8CE-3672-466D-8017-B86ADCCAD7C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0A2761D-3565-436A-8593-E706355FCE55}" type="pres">
      <dgm:prSet presAssocID="{60E9A8CE-3672-466D-8017-B86ADCCAD7C6}" presName="matrix" presStyleCnt="0"/>
      <dgm:spPr/>
    </dgm:pt>
    <dgm:pt modelId="{3E3B53CC-63F9-486E-B296-6E00E1199ECB}" type="pres">
      <dgm:prSet presAssocID="{60E9A8CE-3672-466D-8017-B86ADCCAD7C6}" presName="tile1" presStyleLbl="node1" presStyleIdx="0" presStyleCnt="4"/>
      <dgm:spPr/>
    </dgm:pt>
    <dgm:pt modelId="{7A7E103B-B5B2-481B-8CE7-5C8D719A2205}" type="pres">
      <dgm:prSet presAssocID="{60E9A8CE-3672-466D-8017-B86ADCCAD7C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0229584-9C34-4778-B8AA-1AA196E63414}" type="pres">
      <dgm:prSet presAssocID="{60E9A8CE-3672-466D-8017-B86ADCCAD7C6}" presName="tile2" presStyleLbl="node1" presStyleIdx="1" presStyleCnt="4"/>
      <dgm:spPr/>
    </dgm:pt>
    <dgm:pt modelId="{28F8378A-4E8F-437D-805A-233D26F6CC90}" type="pres">
      <dgm:prSet presAssocID="{60E9A8CE-3672-466D-8017-B86ADCCAD7C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374D5145-E2A1-4964-AF5F-50EBD090420C}" type="pres">
      <dgm:prSet presAssocID="{60E9A8CE-3672-466D-8017-B86ADCCAD7C6}" presName="tile3" presStyleLbl="node1" presStyleIdx="2" presStyleCnt="4"/>
      <dgm:spPr/>
    </dgm:pt>
    <dgm:pt modelId="{A554ECCF-078E-4C1A-B5EA-60B059539F64}" type="pres">
      <dgm:prSet presAssocID="{60E9A8CE-3672-466D-8017-B86ADCCAD7C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269400-037F-4E4D-8615-9F6ADD40C530}" type="pres">
      <dgm:prSet presAssocID="{60E9A8CE-3672-466D-8017-B86ADCCAD7C6}" presName="tile4" presStyleLbl="node1" presStyleIdx="3" presStyleCnt="4"/>
      <dgm:spPr/>
    </dgm:pt>
    <dgm:pt modelId="{94B35573-9737-4B63-B540-F417DE6061EB}" type="pres">
      <dgm:prSet presAssocID="{60E9A8CE-3672-466D-8017-B86ADCCAD7C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2E174289-C717-4B8B-BD2D-0BA70D09B636}" type="pres">
      <dgm:prSet presAssocID="{60E9A8CE-3672-466D-8017-B86ADCCAD7C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01114809-964C-4517-AD76-63D03014C240}" type="presOf" srcId="{BF852B65-2A5D-485E-B184-15DA72C96801}" destId="{A554ECCF-078E-4C1A-B5EA-60B059539F64}" srcOrd="1" destOrd="0" presId="urn:microsoft.com/office/officeart/2005/8/layout/matrix1"/>
    <dgm:cxn modelId="{D1E48F10-BC47-4663-ACF8-BCC8B27F2D4F}" srcId="{990E2F29-8333-40BE-999D-F3E7B8B4B4FC}" destId="{40065E22-895C-4585-9AA4-44EA553CCF2A}" srcOrd="0" destOrd="0" parTransId="{AA906743-CBE7-488F-88EB-8F66DCDC5767}" sibTransId="{354D7CB3-9BFA-4FFD-AB7B-C5B86E0F3D3C}"/>
    <dgm:cxn modelId="{10984013-C441-4B06-9EC2-EDEC3908CF37}" type="presOf" srcId="{BF852B65-2A5D-485E-B184-15DA72C96801}" destId="{374D5145-E2A1-4964-AF5F-50EBD090420C}" srcOrd="0" destOrd="0" presId="urn:microsoft.com/office/officeart/2005/8/layout/matrix1"/>
    <dgm:cxn modelId="{F886BE1A-3204-4AC6-AAA2-CA8A39353477}" type="presOf" srcId="{D423C0A7-C037-4C0B-827D-C881C1D4CBDB}" destId="{94B35573-9737-4B63-B540-F417DE6061EB}" srcOrd="1" destOrd="0" presId="urn:microsoft.com/office/officeart/2005/8/layout/matrix1"/>
    <dgm:cxn modelId="{A18A9621-B6C2-487D-A2F8-F8B962F110A9}" srcId="{990E2F29-8333-40BE-999D-F3E7B8B4B4FC}" destId="{D423C0A7-C037-4C0B-827D-C881C1D4CBDB}" srcOrd="3" destOrd="0" parTransId="{A2048480-6E88-4CA6-9E68-D278006BD8CF}" sibTransId="{0EBE7C54-2E6F-438D-BE78-2AABDC10008C}"/>
    <dgm:cxn modelId="{4DEAAD21-A7E4-46E1-B66D-A5E45CD81338}" type="presOf" srcId="{40065E22-895C-4585-9AA4-44EA553CCF2A}" destId="{7A7E103B-B5B2-481B-8CE7-5C8D719A2205}" srcOrd="1" destOrd="0" presId="urn:microsoft.com/office/officeart/2005/8/layout/matrix1"/>
    <dgm:cxn modelId="{7D77F129-3F82-478B-8471-57F1614F3A56}" srcId="{990E2F29-8333-40BE-999D-F3E7B8B4B4FC}" destId="{52AC40BC-B1B5-4D19-B3FC-71BE2FEBE665}" srcOrd="1" destOrd="0" parTransId="{3CC6E199-9A51-4E42-A27F-5F90E8A5FA86}" sibTransId="{A1C0CD16-C94C-41E2-925E-E1B4305C07F1}"/>
    <dgm:cxn modelId="{53E57B2F-6094-4D79-A9DA-514430965C19}" srcId="{60E9A8CE-3672-466D-8017-B86ADCCAD7C6}" destId="{990E2F29-8333-40BE-999D-F3E7B8B4B4FC}" srcOrd="0" destOrd="0" parTransId="{44F7A50A-EC4F-4F09-B521-8BF5992842C7}" sibTransId="{83F7CF39-50B3-42CE-B715-9A826E6E0FC2}"/>
    <dgm:cxn modelId="{BA7DED4C-266B-4DE6-BF11-D2FA1AF0E988}" type="presOf" srcId="{990E2F29-8333-40BE-999D-F3E7B8B4B4FC}" destId="{2E174289-C717-4B8B-BD2D-0BA70D09B636}" srcOrd="0" destOrd="0" presId="urn:microsoft.com/office/officeart/2005/8/layout/matrix1"/>
    <dgm:cxn modelId="{8340F56D-E73F-4E6F-8302-7514C5E9C9DE}" type="presOf" srcId="{60E9A8CE-3672-466D-8017-B86ADCCAD7C6}" destId="{E61B37B7-C941-41C8-B46C-52666FC1C4F8}" srcOrd="0" destOrd="0" presId="urn:microsoft.com/office/officeart/2005/8/layout/matrix1"/>
    <dgm:cxn modelId="{187F2D5A-95B8-46A8-8E09-3B00EAC92621}" srcId="{990E2F29-8333-40BE-999D-F3E7B8B4B4FC}" destId="{BF852B65-2A5D-485E-B184-15DA72C96801}" srcOrd="2" destOrd="0" parTransId="{5328FA42-7710-4EE2-B600-612DBFF168A1}" sibTransId="{0F8540B4-FEF8-4CBD-AE64-A5559E918238}"/>
    <dgm:cxn modelId="{C45EB092-D3A5-469A-85ED-2AC1D2896AEC}" type="presOf" srcId="{40065E22-895C-4585-9AA4-44EA553CCF2A}" destId="{3E3B53CC-63F9-486E-B296-6E00E1199ECB}" srcOrd="0" destOrd="0" presId="urn:microsoft.com/office/officeart/2005/8/layout/matrix1"/>
    <dgm:cxn modelId="{AEE786A8-7EDE-4A82-9667-9AFD1D91E2F7}" type="presOf" srcId="{52AC40BC-B1B5-4D19-B3FC-71BE2FEBE665}" destId="{D0229584-9C34-4778-B8AA-1AA196E63414}" srcOrd="0" destOrd="0" presId="urn:microsoft.com/office/officeart/2005/8/layout/matrix1"/>
    <dgm:cxn modelId="{2786FDC4-CB42-4350-B8A3-A7CD20C56C33}" type="presOf" srcId="{52AC40BC-B1B5-4D19-B3FC-71BE2FEBE665}" destId="{28F8378A-4E8F-437D-805A-233D26F6CC90}" srcOrd="1" destOrd="0" presId="urn:microsoft.com/office/officeart/2005/8/layout/matrix1"/>
    <dgm:cxn modelId="{5C1572F0-361D-407D-863B-88EB0097FA02}" type="presOf" srcId="{D423C0A7-C037-4C0B-827D-C881C1D4CBDB}" destId="{73269400-037F-4E4D-8615-9F6ADD40C530}" srcOrd="0" destOrd="0" presId="urn:microsoft.com/office/officeart/2005/8/layout/matrix1"/>
    <dgm:cxn modelId="{578C3281-58B5-455C-B209-74F1C0E7FA92}" type="presParOf" srcId="{E61B37B7-C941-41C8-B46C-52666FC1C4F8}" destId="{00A2761D-3565-436A-8593-E706355FCE55}" srcOrd="0" destOrd="0" presId="urn:microsoft.com/office/officeart/2005/8/layout/matrix1"/>
    <dgm:cxn modelId="{A5903AC9-FE36-43A4-AFB2-0F92037E7642}" type="presParOf" srcId="{00A2761D-3565-436A-8593-E706355FCE55}" destId="{3E3B53CC-63F9-486E-B296-6E00E1199ECB}" srcOrd="0" destOrd="0" presId="urn:microsoft.com/office/officeart/2005/8/layout/matrix1"/>
    <dgm:cxn modelId="{E73AA113-7398-4BBD-9D18-249D1D37531E}" type="presParOf" srcId="{00A2761D-3565-436A-8593-E706355FCE55}" destId="{7A7E103B-B5B2-481B-8CE7-5C8D719A2205}" srcOrd="1" destOrd="0" presId="urn:microsoft.com/office/officeart/2005/8/layout/matrix1"/>
    <dgm:cxn modelId="{E1ECC93B-8AA4-453D-86B5-E4F2A92B1C5F}" type="presParOf" srcId="{00A2761D-3565-436A-8593-E706355FCE55}" destId="{D0229584-9C34-4778-B8AA-1AA196E63414}" srcOrd="2" destOrd="0" presId="urn:microsoft.com/office/officeart/2005/8/layout/matrix1"/>
    <dgm:cxn modelId="{049430F0-A1FC-48F2-96D9-AE7D1D5FD694}" type="presParOf" srcId="{00A2761D-3565-436A-8593-E706355FCE55}" destId="{28F8378A-4E8F-437D-805A-233D26F6CC90}" srcOrd="3" destOrd="0" presId="urn:microsoft.com/office/officeart/2005/8/layout/matrix1"/>
    <dgm:cxn modelId="{57DBD8EA-3231-465D-9940-441A98F8A96C}" type="presParOf" srcId="{00A2761D-3565-436A-8593-E706355FCE55}" destId="{374D5145-E2A1-4964-AF5F-50EBD090420C}" srcOrd="4" destOrd="0" presId="urn:microsoft.com/office/officeart/2005/8/layout/matrix1"/>
    <dgm:cxn modelId="{9C027B0B-BF20-4EBA-981C-0B608DC9B1E5}" type="presParOf" srcId="{00A2761D-3565-436A-8593-E706355FCE55}" destId="{A554ECCF-078E-4C1A-B5EA-60B059539F64}" srcOrd="5" destOrd="0" presId="urn:microsoft.com/office/officeart/2005/8/layout/matrix1"/>
    <dgm:cxn modelId="{687EF132-42E4-4B64-B715-B31E1004AF03}" type="presParOf" srcId="{00A2761D-3565-436A-8593-E706355FCE55}" destId="{73269400-037F-4E4D-8615-9F6ADD40C530}" srcOrd="6" destOrd="0" presId="urn:microsoft.com/office/officeart/2005/8/layout/matrix1"/>
    <dgm:cxn modelId="{DE9A1C77-D668-4904-AA23-89A1824B56B4}" type="presParOf" srcId="{00A2761D-3565-436A-8593-E706355FCE55}" destId="{94B35573-9737-4B63-B540-F417DE6061EB}" srcOrd="7" destOrd="0" presId="urn:microsoft.com/office/officeart/2005/8/layout/matrix1"/>
    <dgm:cxn modelId="{74ACF0B2-5BFA-48E4-A1AA-14BF478F1387}" type="presParOf" srcId="{E61B37B7-C941-41C8-B46C-52666FC1C4F8}" destId="{2E174289-C717-4B8B-BD2D-0BA70D09B63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F435883B-BA56-4C76-A8D1-FDAA7502AAEA}" type="doc">
      <dgm:prSet loTypeId="urn:microsoft.com/office/officeart/2005/8/layout/radial6" loCatId="relationship" qsTypeId="urn:microsoft.com/office/officeart/2005/8/quickstyle/simple2" qsCatId="simple" csTypeId="urn:microsoft.com/office/officeart/2005/8/colors/colorful1#11" csCatId="colorful" phldr="1"/>
      <dgm:spPr/>
      <dgm:t>
        <a:bodyPr/>
        <a:lstStyle/>
        <a:p>
          <a:endParaRPr lang="en-US"/>
        </a:p>
      </dgm:t>
    </dgm:pt>
    <dgm:pt modelId="{C9065984-A9B2-4D07-91EF-A59209C372F0}">
      <dgm:prSet phldrT="[Text]"/>
      <dgm:spPr/>
      <dgm:t>
        <a:bodyPr/>
        <a:lstStyle/>
        <a:p>
          <a:r>
            <a:rPr lang="pl-PL" dirty="0"/>
            <a:t>Test Case</a:t>
          </a:r>
          <a:endParaRPr lang="en-US" dirty="0"/>
        </a:p>
      </dgm:t>
    </dgm:pt>
    <dgm:pt modelId="{CD68041D-E649-40AA-976E-945FC544BBC4}" type="parTrans" cxnId="{5E58E86F-CB4E-4849-8004-0F53C2A8E21E}">
      <dgm:prSet/>
      <dgm:spPr/>
      <dgm:t>
        <a:bodyPr/>
        <a:lstStyle/>
        <a:p>
          <a:endParaRPr lang="en-US"/>
        </a:p>
      </dgm:t>
    </dgm:pt>
    <dgm:pt modelId="{C70B2E5F-8166-4071-8631-BC45DA138B4B}" type="sibTrans" cxnId="{5E58E86F-CB4E-4849-8004-0F53C2A8E21E}">
      <dgm:prSet/>
      <dgm:spPr/>
      <dgm:t>
        <a:bodyPr/>
        <a:lstStyle/>
        <a:p>
          <a:endParaRPr lang="en-US"/>
        </a:p>
      </dgm:t>
    </dgm:pt>
    <dgm:pt modelId="{982B1597-A057-4EDC-B66B-0747A482D67D}">
      <dgm:prSet phldrT="[Text]"/>
      <dgm:spPr/>
      <dgm:t>
        <a:bodyPr/>
        <a:lstStyle/>
        <a:p>
          <a:r>
            <a:rPr lang="pl-PL" dirty="0"/>
            <a:t>Resolution</a:t>
          </a:r>
          <a:endParaRPr lang="en-US" dirty="0"/>
        </a:p>
      </dgm:t>
    </dgm:pt>
    <dgm:pt modelId="{0776D8BD-97DF-4837-B96F-15CFA4C0DCCF}" type="parTrans" cxnId="{A1914077-F8B4-4956-8D9E-C2BE8A1674FC}">
      <dgm:prSet/>
      <dgm:spPr/>
      <dgm:t>
        <a:bodyPr/>
        <a:lstStyle/>
        <a:p>
          <a:endParaRPr lang="en-US"/>
        </a:p>
      </dgm:t>
    </dgm:pt>
    <dgm:pt modelId="{8B86A0A2-9931-4B37-BCFD-942595D5F83D}" type="sibTrans" cxnId="{A1914077-F8B4-4956-8D9E-C2BE8A1674FC}">
      <dgm:prSet/>
      <dgm:spPr/>
      <dgm:t>
        <a:bodyPr/>
        <a:lstStyle/>
        <a:p>
          <a:endParaRPr lang="en-US"/>
        </a:p>
      </dgm:t>
    </dgm:pt>
    <dgm:pt modelId="{60366DE3-BC3F-4B3D-9AF2-197C0A569771}">
      <dgm:prSet phldrT="[Text]"/>
      <dgm:spPr/>
      <dgm:t>
        <a:bodyPr/>
        <a:lstStyle/>
        <a:p>
          <a:r>
            <a:rPr lang="pl-PL" dirty="0" err="1"/>
            <a:t>Browsers</a:t>
          </a:r>
          <a:endParaRPr lang="en-US" dirty="0"/>
        </a:p>
      </dgm:t>
    </dgm:pt>
    <dgm:pt modelId="{F7C06E0E-E39C-455F-935F-ADED939E7ABF}" type="parTrans" cxnId="{E5A78024-C57B-4538-BE40-C273CC942173}">
      <dgm:prSet/>
      <dgm:spPr/>
      <dgm:t>
        <a:bodyPr/>
        <a:lstStyle/>
        <a:p>
          <a:endParaRPr lang="en-US"/>
        </a:p>
      </dgm:t>
    </dgm:pt>
    <dgm:pt modelId="{E61429FC-F93B-4A87-9B6E-DFA85A7187F2}" type="sibTrans" cxnId="{E5A78024-C57B-4538-BE40-C273CC942173}">
      <dgm:prSet/>
      <dgm:spPr/>
      <dgm:t>
        <a:bodyPr/>
        <a:lstStyle/>
        <a:p>
          <a:endParaRPr lang="en-US"/>
        </a:p>
      </dgm:t>
    </dgm:pt>
    <dgm:pt modelId="{E1D02FBB-BE68-45E7-A8AA-6FAA0D40F30B}">
      <dgm:prSet phldrT="[Text]"/>
      <dgm:spPr/>
      <dgm:t>
        <a:bodyPr/>
        <a:lstStyle/>
        <a:p>
          <a:r>
            <a:rPr lang="pl-PL" dirty="0"/>
            <a:t>Test Environment</a:t>
          </a:r>
          <a:endParaRPr lang="en-US" dirty="0"/>
        </a:p>
      </dgm:t>
    </dgm:pt>
    <dgm:pt modelId="{6DF309D2-0D9C-42D4-81DB-3A5516F798D6}" type="parTrans" cxnId="{863FB11F-773E-4127-8935-B9588A0929BA}">
      <dgm:prSet/>
      <dgm:spPr/>
      <dgm:t>
        <a:bodyPr/>
        <a:lstStyle/>
        <a:p>
          <a:endParaRPr lang="en-US"/>
        </a:p>
      </dgm:t>
    </dgm:pt>
    <dgm:pt modelId="{CF639D30-B08C-4603-94E1-B7E8A7AD99EE}" type="sibTrans" cxnId="{863FB11F-773E-4127-8935-B9588A0929BA}">
      <dgm:prSet/>
      <dgm:spPr/>
      <dgm:t>
        <a:bodyPr/>
        <a:lstStyle/>
        <a:p>
          <a:endParaRPr lang="en-US"/>
        </a:p>
      </dgm:t>
    </dgm:pt>
    <dgm:pt modelId="{AB825AFB-3011-4E29-8CEC-5452718457B8}">
      <dgm:prSet phldrT="[Text]"/>
      <dgm:spPr/>
      <dgm:t>
        <a:bodyPr/>
        <a:lstStyle/>
        <a:p>
          <a:r>
            <a:rPr lang="pl-PL" dirty="0"/>
            <a:t>Data </a:t>
          </a:r>
          <a:r>
            <a:rPr lang="pl-PL" dirty="0" err="1"/>
            <a:t>Driven</a:t>
          </a:r>
          <a:endParaRPr lang="en-US" dirty="0"/>
        </a:p>
      </dgm:t>
    </dgm:pt>
    <dgm:pt modelId="{D02944FD-E561-4946-AD80-D46B99E982EF}" type="parTrans" cxnId="{616705AB-EDDF-43BA-B8B1-3AF8C7048ACD}">
      <dgm:prSet/>
      <dgm:spPr/>
      <dgm:t>
        <a:bodyPr/>
        <a:lstStyle/>
        <a:p>
          <a:endParaRPr lang="en-US"/>
        </a:p>
      </dgm:t>
    </dgm:pt>
    <dgm:pt modelId="{01F6CD73-6952-406F-8E6F-C72EBC48AB2D}" type="sibTrans" cxnId="{616705AB-EDDF-43BA-B8B1-3AF8C7048ACD}">
      <dgm:prSet/>
      <dgm:spPr/>
      <dgm:t>
        <a:bodyPr/>
        <a:lstStyle/>
        <a:p>
          <a:endParaRPr lang="en-US"/>
        </a:p>
      </dgm:t>
    </dgm:pt>
    <dgm:pt modelId="{2288B9B3-339F-43AD-A6AB-9E303FAD4CDB}">
      <dgm:prSet phldrT="[Text]"/>
      <dgm:spPr/>
      <dgm:t>
        <a:bodyPr/>
        <a:lstStyle/>
        <a:p>
          <a:r>
            <a:rPr lang="pl-PL" dirty="0"/>
            <a:t>Smart data </a:t>
          </a:r>
          <a:r>
            <a:rPr lang="pl-PL" dirty="0" err="1"/>
            <a:t>discover</a:t>
          </a:r>
          <a:endParaRPr lang="en-US" dirty="0"/>
        </a:p>
      </dgm:t>
    </dgm:pt>
    <dgm:pt modelId="{E4D9FD7E-4017-4545-921D-752F0A89031C}" type="parTrans" cxnId="{7237A7C0-D1B9-4326-B8A0-2E9F201EDE3C}">
      <dgm:prSet/>
      <dgm:spPr/>
      <dgm:t>
        <a:bodyPr/>
        <a:lstStyle/>
        <a:p>
          <a:endParaRPr lang="en-US"/>
        </a:p>
      </dgm:t>
    </dgm:pt>
    <dgm:pt modelId="{F9403A9E-C693-479C-A55F-F6A9A0095C23}" type="sibTrans" cxnId="{7237A7C0-D1B9-4326-B8A0-2E9F201EDE3C}">
      <dgm:prSet/>
      <dgm:spPr/>
      <dgm:t>
        <a:bodyPr/>
        <a:lstStyle/>
        <a:p>
          <a:endParaRPr lang="en-US"/>
        </a:p>
      </dgm:t>
    </dgm:pt>
    <dgm:pt modelId="{21A738C5-3B94-42E1-AF75-6526CBE5D572}" type="pres">
      <dgm:prSet presAssocID="{F435883B-BA56-4C76-A8D1-FDAA7502AAE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DDD11A90-6657-4DF9-9096-EB80E2B2F343}" type="pres">
      <dgm:prSet presAssocID="{C9065984-A9B2-4D07-91EF-A59209C372F0}" presName="centerShape" presStyleLbl="node0" presStyleIdx="0" presStyleCnt="1"/>
      <dgm:spPr/>
    </dgm:pt>
    <dgm:pt modelId="{764C1D9D-33D7-43F4-8D77-B81814EA7131}" type="pres">
      <dgm:prSet presAssocID="{982B1597-A057-4EDC-B66B-0747A482D67D}" presName="node" presStyleLbl="node1" presStyleIdx="0" presStyleCnt="5">
        <dgm:presLayoutVars>
          <dgm:bulletEnabled val="1"/>
        </dgm:presLayoutVars>
      </dgm:prSet>
      <dgm:spPr/>
    </dgm:pt>
    <dgm:pt modelId="{EBBF4C69-26F1-4014-8B56-D675392778FD}" type="pres">
      <dgm:prSet presAssocID="{982B1597-A057-4EDC-B66B-0747A482D67D}" presName="dummy" presStyleCnt="0"/>
      <dgm:spPr/>
    </dgm:pt>
    <dgm:pt modelId="{1B3D3CED-8C41-4ECB-BEF2-70C1E3DD4E1B}" type="pres">
      <dgm:prSet presAssocID="{8B86A0A2-9931-4B37-BCFD-942595D5F83D}" presName="sibTrans" presStyleLbl="sibTrans2D1" presStyleIdx="0" presStyleCnt="5"/>
      <dgm:spPr/>
    </dgm:pt>
    <dgm:pt modelId="{34460252-B829-4C62-AA4F-1DAD692508DD}" type="pres">
      <dgm:prSet presAssocID="{60366DE3-BC3F-4B3D-9AF2-197C0A569771}" presName="node" presStyleLbl="node1" presStyleIdx="1" presStyleCnt="5">
        <dgm:presLayoutVars>
          <dgm:bulletEnabled val="1"/>
        </dgm:presLayoutVars>
      </dgm:prSet>
      <dgm:spPr/>
    </dgm:pt>
    <dgm:pt modelId="{DBC58BF9-F43D-4A97-86A9-D7D92724174D}" type="pres">
      <dgm:prSet presAssocID="{60366DE3-BC3F-4B3D-9AF2-197C0A569771}" presName="dummy" presStyleCnt="0"/>
      <dgm:spPr/>
    </dgm:pt>
    <dgm:pt modelId="{A4625BFF-0C1A-442E-AE25-C6F88082CF53}" type="pres">
      <dgm:prSet presAssocID="{E61429FC-F93B-4A87-9B6E-DFA85A7187F2}" presName="sibTrans" presStyleLbl="sibTrans2D1" presStyleIdx="1" presStyleCnt="5"/>
      <dgm:spPr/>
    </dgm:pt>
    <dgm:pt modelId="{D3CE8B1A-C55E-44B5-BB23-7082097FA931}" type="pres">
      <dgm:prSet presAssocID="{E1D02FBB-BE68-45E7-A8AA-6FAA0D40F30B}" presName="node" presStyleLbl="node1" presStyleIdx="2" presStyleCnt="5">
        <dgm:presLayoutVars>
          <dgm:bulletEnabled val="1"/>
        </dgm:presLayoutVars>
      </dgm:prSet>
      <dgm:spPr/>
    </dgm:pt>
    <dgm:pt modelId="{6D935FC5-176B-4729-993C-ED6A83484E16}" type="pres">
      <dgm:prSet presAssocID="{E1D02FBB-BE68-45E7-A8AA-6FAA0D40F30B}" presName="dummy" presStyleCnt="0"/>
      <dgm:spPr/>
    </dgm:pt>
    <dgm:pt modelId="{641A3566-83A6-48D9-96BF-0026C89A867B}" type="pres">
      <dgm:prSet presAssocID="{CF639D30-B08C-4603-94E1-B7E8A7AD99EE}" presName="sibTrans" presStyleLbl="sibTrans2D1" presStyleIdx="2" presStyleCnt="5"/>
      <dgm:spPr/>
    </dgm:pt>
    <dgm:pt modelId="{F69E6519-ED20-43CC-B105-CFCBC896386E}" type="pres">
      <dgm:prSet presAssocID="{AB825AFB-3011-4E29-8CEC-5452718457B8}" presName="node" presStyleLbl="node1" presStyleIdx="3" presStyleCnt="5">
        <dgm:presLayoutVars>
          <dgm:bulletEnabled val="1"/>
        </dgm:presLayoutVars>
      </dgm:prSet>
      <dgm:spPr/>
    </dgm:pt>
    <dgm:pt modelId="{44EC7C9D-72FB-4A80-B0BE-454041297179}" type="pres">
      <dgm:prSet presAssocID="{AB825AFB-3011-4E29-8CEC-5452718457B8}" presName="dummy" presStyleCnt="0"/>
      <dgm:spPr/>
    </dgm:pt>
    <dgm:pt modelId="{2701B747-28BF-4B1C-ABED-6A795BDCAC88}" type="pres">
      <dgm:prSet presAssocID="{01F6CD73-6952-406F-8E6F-C72EBC48AB2D}" presName="sibTrans" presStyleLbl="sibTrans2D1" presStyleIdx="3" presStyleCnt="5"/>
      <dgm:spPr/>
    </dgm:pt>
    <dgm:pt modelId="{7FD22E0C-9B34-41F4-8A24-101C037B4564}" type="pres">
      <dgm:prSet presAssocID="{2288B9B3-339F-43AD-A6AB-9E303FAD4CDB}" presName="node" presStyleLbl="node1" presStyleIdx="4" presStyleCnt="5">
        <dgm:presLayoutVars>
          <dgm:bulletEnabled val="1"/>
        </dgm:presLayoutVars>
      </dgm:prSet>
      <dgm:spPr/>
    </dgm:pt>
    <dgm:pt modelId="{C1D8BE73-4558-477B-B2CC-241FD459F792}" type="pres">
      <dgm:prSet presAssocID="{2288B9B3-339F-43AD-A6AB-9E303FAD4CDB}" presName="dummy" presStyleCnt="0"/>
      <dgm:spPr/>
    </dgm:pt>
    <dgm:pt modelId="{F3ADA40B-1B5B-491A-A8D1-C9AA111FC404}" type="pres">
      <dgm:prSet presAssocID="{F9403A9E-C693-479C-A55F-F6A9A0095C23}" presName="sibTrans" presStyleLbl="sibTrans2D1" presStyleIdx="4" presStyleCnt="5"/>
      <dgm:spPr/>
    </dgm:pt>
  </dgm:ptLst>
  <dgm:cxnLst>
    <dgm:cxn modelId="{1F634B08-A763-434E-8118-7BD5B6F7DCE1}" type="presOf" srcId="{2288B9B3-339F-43AD-A6AB-9E303FAD4CDB}" destId="{7FD22E0C-9B34-41F4-8A24-101C037B4564}" srcOrd="0" destOrd="0" presId="urn:microsoft.com/office/officeart/2005/8/layout/radial6"/>
    <dgm:cxn modelId="{863FB11F-773E-4127-8935-B9588A0929BA}" srcId="{C9065984-A9B2-4D07-91EF-A59209C372F0}" destId="{E1D02FBB-BE68-45E7-A8AA-6FAA0D40F30B}" srcOrd="2" destOrd="0" parTransId="{6DF309D2-0D9C-42D4-81DB-3A5516F798D6}" sibTransId="{CF639D30-B08C-4603-94E1-B7E8A7AD99EE}"/>
    <dgm:cxn modelId="{E5A78024-C57B-4538-BE40-C273CC942173}" srcId="{C9065984-A9B2-4D07-91EF-A59209C372F0}" destId="{60366DE3-BC3F-4B3D-9AF2-197C0A569771}" srcOrd="1" destOrd="0" parTransId="{F7C06E0E-E39C-455F-935F-ADED939E7ABF}" sibTransId="{E61429FC-F93B-4A87-9B6E-DFA85A7187F2}"/>
    <dgm:cxn modelId="{8E2C4C2A-1689-48AE-B89E-2A903780151C}" type="presOf" srcId="{AB825AFB-3011-4E29-8CEC-5452718457B8}" destId="{F69E6519-ED20-43CC-B105-CFCBC896386E}" srcOrd="0" destOrd="0" presId="urn:microsoft.com/office/officeart/2005/8/layout/radial6"/>
    <dgm:cxn modelId="{C83EB45D-1046-4B36-8B09-2BA5A89D4A32}" type="presOf" srcId="{CF639D30-B08C-4603-94E1-B7E8A7AD99EE}" destId="{641A3566-83A6-48D9-96BF-0026C89A867B}" srcOrd="0" destOrd="0" presId="urn:microsoft.com/office/officeart/2005/8/layout/radial6"/>
    <dgm:cxn modelId="{F85BAB45-4D7A-40D7-9760-DBC5585FBFEE}" type="presOf" srcId="{F435883B-BA56-4C76-A8D1-FDAA7502AAEA}" destId="{21A738C5-3B94-42E1-AF75-6526CBE5D572}" srcOrd="0" destOrd="0" presId="urn:microsoft.com/office/officeart/2005/8/layout/radial6"/>
    <dgm:cxn modelId="{5E58E86F-CB4E-4849-8004-0F53C2A8E21E}" srcId="{F435883B-BA56-4C76-A8D1-FDAA7502AAEA}" destId="{C9065984-A9B2-4D07-91EF-A59209C372F0}" srcOrd="0" destOrd="0" parTransId="{CD68041D-E649-40AA-976E-945FC544BBC4}" sibTransId="{C70B2E5F-8166-4071-8631-BC45DA138B4B}"/>
    <dgm:cxn modelId="{5FEDC853-93AA-439B-A13F-CD8315427440}" type="presOf" srcId="{E1D02FBB-BE68-45E7-A8AA-6FAA0D40F30B}" destId="{D3CE8B1A-C55E-44B5-BB23-7082097FA931}" srcOrd="0" destOrd="0" presId="urn:microsoft.com/office/officeart/2005/8/layout/radial6"/>
    <dgm:cxn modelId="{A1914077-F8B4-4956-8D9E-C2BE8A1674FC}" srcId="{C9065984-A9B2-4D07-91EF-A59209C372F0}" destId="{982B1597-A057-4EDC-B66B-0747A482D67D}" srcOrd="0" destOrd="0" parTransId="{0776D8BD-97DF-4837-B96F-15CFA4C0DCCF}" sibTransId="{8B86A0A2-9931-4B37-BCFD-942595D5F83D}"/>
    <dgm:cxn modelId="{1A91495A-48A0-478A-9D21-CF4A494DED79}" type="presOf" srcId="{982B1597-A057-4EDC-B66B-0747A482D67D}" destId="{764C1D9D-33D7-43F4-8D77-B81814EA7131}" srcOrd="0" destOrd="0" presId="urn:microsoft.com/office/officeart/2005/8/layout/radial6"/>
    <dgm:cxn modelId="{55D43D8B-B08B-44EE-8864-124EAE4FD4F0}" type="presOf" srcId="{8B86A0A2-9931-4B37-BCFD-942595D5F83D}" destId="{1B3D3CED-8C41-4ECB-BEF2-70C1E3DD4E1B}" srcOrd="0" destOrd="0" presId="urn:microsoft.com/office/officeart/2005/8/layout/radial6"/>
    <dgm:cxn modelId="{47C65998-6F4F-40F0-A025-1981D467AB51}" type="presOf" srcId="{F9403A9E-C693-479C-A55F-F6A9A0095C23}" destId="{F3ADA40B-1B5B-491A-A8D1-C9AA111FC404}" srcOrd="0" destOrd="0" presId="urn:microsoft.com/office/officeart/2005/8/layout/radial6"/>
    <dgm:cxn modelId="{616705AB-EDDF-43BA-B8B1-3AF8C7048ACD}" srcId="{C9065984-A9B2-4D07-91EF-A59209C372F0}" destId="{AB825AFB-3011-4E29-8CEC-5452718457B8}" srcOrd="3" destOrd="0" parTransId="{D02944FD-E561-4946-AD80-D46B99E982EF}" sibTransId="{01F6CD73-6952-406F-8E6F-C72EBC48AB2D}"/>
    <dgm:cxn modelId="{50C6A7B6-DEAB-463A-80E6-DA633CF43789}" type="presOf" srcId="{C9065984-A9B2-4D07-91EF-A59209C372F0}" destId="{DDD11A90-6657-4DF9-9096-EB80E2B2F343}" srcOrd="0" destOrd="0" presId="urn:microsoft.com/office/officeart/2005/8/layout/radial6"/>
    <dgm:cxn modelId="{7237A7C0-D1B9-4326-B8A0-2E9F201EDE3C}" srcId="{C9065984-A9B2-4D07-91EF-A59209C372F0}" destId="{2288B9B3-339F-43AD-A6AB-9E303FAD4CDB}" srcOrd="4" destOrd="0" parTransId="{E4D9FD7E-4017-4545-921D-752F0A89031C}" sibTransId="{F9403A9E-C693-479C-A55F-F6A9A0095C23}"/>
    <dgm:cxn modelId="{D98CA9E1-7B2F-4FE1-B27E-DF2FBF15A90F}" type="presOf" srcId="{E61429FC-F93B-4A87-9B6E-DFA85A7187F2}" destId="{A4625BFF-0C1A-442E-AE25-C6F88082CF53}" srcOrd="0" destOrd="0" presId="urn:microsoft.com/office/officeart/2005/8/layout/radial6"/>
    <dgm:cxn modelId="{F8954BE6-2843-41B1-8101-CBC28B5D4B6B}" type="presOf" srcId="{60366DE3-BC3F-4B3D-9AF2-197C0A569771}" destId="{34460252-B829-4C62-AA4F-1DAD692508DD}" srcOrd="0" destOrd="0" presId="urn:microsoft.com/office/officeart/2005/8/layout/radial6"/>
    <dgm:cxn modelId="{4A3122EB-D8BA-4384-AEB0-E656C835600E}" type="presOf" srcId="{01F6CD73-6952-406F-8E6F-C72EBC48AB2D}" destId="{2701B747-28BF-4B1C-ABED-6A795BDCAC88}" srcOrd="0" destOrd="0" presId="urn:microsoft.com/office/officeart/2005/8/layout/radial6"/>
    <dgm:cxn modelId="{D46185D6-2334-4729-950D-35B6078131F2}" type="presParOf" srcId="{21A738C5-3B94-42E1-AF75-6526CBE5D572}" destId="{DDD11A90-6657-4DF9-9096-EB80E2B2F343}" srcOrd="0" destOrd="0" presId="urn:microsoft.com/office/officeart/2005/8/layout/radial6"/>
    <dgm:cxn modelId="{17CE3E12-918F-44DF-A363-3AB8C715B340}" type="presParOf" srcId="{21A738C5-3B94-42E1-AF75-6526CBE5D572}" destId="{764C1D9D-33D7-43F4-8D77-B81814EA7131}" srcOrd="1" destOrd="0" presId="urn:microsoft.com/office/officeart/2005/8/layout/radial6"/>
    <dgm:cxn modelId="{C37279BC-B9D5-4E62-9062-1BA4E4A4395F}" type="presParOf" srcId="{21A738C5-3B94-42E1-AF75-6526CBE5D572}" destId="{EBBF4C69-26F1-4014-8B56-D675392778FD}" srcOrd="2" destOrd="0" presId="urn:microsoft.com/office/officeart/2005/8/layout/radial6"/>
    <dgm:cxn modelId="{C972A41A-1089-4880-92B0-3572EAB9C59D}" type="presParOf" srcId="{21A738C5-3B94-42E1-AF75-6526CBE5D572}" destId="{1B3D3CED-8C41-4ECB-BEF2-70C1E3DD4E1B}" srcOrd="3" destOrd="0" presId="urn:microsoft.com/office/officeart/2005/8/layout/radial6"/>
    <dgm:cxn modelId="{E9DC7E5B-AF29-44C1-88F6-FA490C825737}" type="presParOf" srcId="{21A738C5-3B94-42E1-AF75-6526CBE5D572}" destId="{34460252-B829-4C62-AA4F-1DAD692508DD}" srcOrd="4" destOrd="0" presId="urn:microsoft.com/office/officeart/2005/8/layout/radial6"/>
    <dgm:cxn modelId="{7E072A9A-149B-4815-9F74-DE0674EC1B80}" type="presParOf" srcId="{21A738C5-3B94-42E1-AF75-6526CBE5D572}" destId="{DBC58BF9-F43D-4A97-86A9-D7D92724174D}" srcOrd="5" destOrd="0" presId="urn:microsoft.com/office/officeart/2005/8/layout/radial6"/>
    <dgm:cxn modelId="{55AD5DDB-0636-4CA3-A6BD-A619C827C995}" type="presParOf" srcId="{21A738C5-3B94-42E1-AF75-6526CBE5D572}" destId="{A4625BFF-0C1A-442E-AE25-C6F88082CF53}" srcOrd="6" destOrd="0" presId="urn:microsoft.com/office/officeart/2005/8/layout/radial6"/>
    <dgm:cxn modelId="{B8BFAA9B-B6BE-4BCD-87E4-8E0568CEDF78}" type="presParOf" srcId="{21A738C5-3B94-42E1-AF75-6526CBE5D572}" destId="{D3CE8B1A-C55E-44B5-BB23-7082097FA931}" srcOrd="7" destOrd="0" presId="urn:microsoft.com/office/officeart/2005/8/layout/radial6"/>
    <dgm:cxn modelId="{67CB8D5A-DAEF-4144-B897-25A65924262A}" type="presParOf" srcId="{21A738C5-3B94-42E1-AF75-6526CBE5D572}" destId="{6D935FC5-176B-4729-993C-ED6A83484E16}" srcOrd="8" destOrd="0" presId="urn:microsoft.com/office/officeart/2005/8/layout/radial6"/>
    <dgm:cxn modelId="{B46888ED-AD3D-4713-AD5D-29B539CD35A0}" type="presParOf" srcId="{21A738C5-3B94-42E1-AF75-6526CBE5D572}" destId="{641A3566-83A6-48D9-96BF-0026C89A867B}" srcOrd="9" destOrd="0" presId="urn:microsoft.com/office/officeart/2005/8/layout/radial6"/>
    <dgm:cxn modelId="{A0832F80-585D-4082-B99A-CE0E9A773C14}" type="presParOf" srcId="{21A738C5-3B94-42E1-AF75-6526CBE5D572}" destId="{F69E6519-ED20-43CC-B105-CFCBC896386E}" srcOrd="10" destOrd="0" presId="urn:microsoft.com/office/officeart/2005/8/layout/radial6"/>
    <dgm:cxn modelId="{B4735420-79B9-4FF1-90A1-84505BF151A1}" type="presParOf" srcId="{21A738C5-3B94-42E1-AF75-6526CBE5D572}" destId="{44EC7C9D-72FB-4A80-B0BE-454041297179}" srcOrd="11" destOrd="0" presId="urn:microsoft.com/office/officeart/2005/8/layout/radial6"/>
    <dgm:cxn modelId="{02A79E6D-C8C3-4682-9C73-4E4E23BAB92E}" type="presParOf" srcId="{21A738C5-3B94-42E1-AF75-6526CBE5D572}" destId="{2701B747-28BF-4B1C-ABED-6A795BDCAC88}" srcOrd="12" destOrd="0" presId="urn:microsoft.com/office/officeart/2005/8/layout/radial6"/>
    <dgm:cxn modelId="{FC7B8641-C65E-4351-8D99-51FEE1632C5D}" type="presParOf" srcId="{21A738C5-3B94-42E1-AF75-6526CBE5D572}" destId="{7FD22E0C-9B34-41F4-8A24-101C037B4564}" srcOrd="13" destOrd="0" presId="urn:microsoft.com/office/officeart/2005/8/layout/radial6"/>
    <dgm:cxn modelId="{631ACDAA-7468-49AE-8205-9B2AD34E25C1}" type="presParOf" srcId="{21A738C5-3B94-42E1-AF75-6526CBE5D572}" destId="{C1D8BE73-4558-477B-B2CC-241FD459F792}" srcOrd="14" destOrd="0" presId="urn:microsoft.com/office/officeart/2005/8/layout/radial6"/>
    <dgm:cxn modelId="{633F9261-3669-472F-B515-91D0C85379B0}" type="presParOf" srcId="{21A738C5-3B94-42E1-AF75-6526CBE5D572}" destId="{F3ADA40B-1B5B-491A-A8D1-C9AA111FC404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B8AAF6D0-E871-4E37-972D-E872EA8C8E66}" type="doc">
      <dgm:prSet loTypeId="urn:microsoft.com/office/officeart/2008/layout/CircularPictureCallout" loCatId="pictur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41AF6B8-101A-4A07-A1BE-B99FD10354F5}">
      <dgm:prSet phldrT="[Text]"/>
      <dgm:spPr/>
      <dgm:t>
        <a:bodyPr/>
        <a:lstStyle/>
        <a:p>
          <a:r>
            <a:rPr lang="pl-PL" dirty="0" err="1"/>
            <a:t>Firefox</a:t>
          </a:r>
          <a:endParaRPr lang="en-US" dirty="0"/>
        </a:p>
      </dgm:t>
    </dgm:pt>
    <dgm:pt modelId="{ABDEEA6F-CE2A-4CC2-8C30-5B6FE4E6DD33}" type="parTrans" cxnId="{62FD5512-B19F-4901-BEC8-99CB28DA07B4}">
      <dgm:prSet/>
      <dgm:spPr/>
      <dgm:t>
        <a:bodyPr/>
        <a:lstStyle/>
        <a:p>
          <a:endParaRPr lang="en-US"/>
        </a:p>
      </dgm:t>
    </dgm:pt>
    <dgm:pt modelId="{714DFA6C-4CBD-45E6-AA6E-95FF69DF1DA1}" type="sibTrans" cxnId="{62FD5512-B19F-4901-BEC8-99CB28DA07B4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395B2139-AA25-4D78-9352-726EC192A560}">
      <dgm:prSet phldrT="[Text]"/>
      <dgm:spPr/>
      <dgm:t>
        <a:bodyPr/>
        <a:lstStyle/>
        <a:p>
          <a:r>
            <a:rPr lang="pl-PL" dirty="0"/>
            <a:t>Chrome</a:t>
          </a:r>
          <a:endParaRPr lang="en-US" dirty="0"/>
        </a:p>
      </dgm:t>
    </dgm:pt>
    <dgm:pt modelId="{FE578BFB-7A95-4BE0-A5A7-68146AB3BB4E}" type="parTrans" cxnId="{08C1EA33-F8B9-4E66-85BE-85D04956907C}">
      <dgm:prSet/>
      <dgm:spPr/>
      <dgm:t>
        <a:bodyPr/>
        <a:lstStyle/>
        <a:p>
          <a:endParaRPr lang="en-US"/>
        </a:p>
      </dgm:t>
    </dgm:pt>
    <dgm:pt modelId="{88291707-E81A-43DE-B684-6F5661869A1E}" type="sibTrans" cxnId="{08C1EA33-F8B9-4E66-85BE-85D04956907C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5DD55B11-E719-40F7-A036-DF0BED517F97}">
      <dgm:prSet phldrT="[Text]"/>
      <dgm:spPr/>
      <dgm:t>
        <a:bodyPr/>
        <a:lstStyle/>
        <a:p>
          <a:r>
            <a:rPr lang="pl-PL" dirty="0"/>
            <a:t>IE</a:t>
          </a:r>
          <a:endParaRPr lang="en-US" dirty="0"/>
        </a:p>
      </dgm:t>
    </dgm:pt>
    <dgm:pt modelId="{2893C0AA-706D-4331-B395-825DAEE18639}" type="parTrans" cxnId="{12C930DB-0065-4066-B796-51D62F365EB2}">
      <dgm:prSet/>
      <dgm:spPr/>
      <dgm:t>
        <a:bodyPr/>
        <a:lstStyle/>
        <a:p>
          <a:endParaRPr lang="en-US"/>
        </a:p>
      </dgm:t>
    </dgm:pt>
    <dgm:pt modelId="{DB7973F9-4C83-4DA0-9ADE-8944642DC306}" type="sibTrans" cxnId="{12C930DB-0065-4066-B796-51D62F365EB2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B479D6EF-E938-4B1F-99DB-2E98D9EF390E}">
      <dgm:prSet phldrT="[Text]"/>
      <dgm:spPr/>
      <dgm:t>
        <a:bodyPr/>
        <a:lstStyle/>
        <a:p>
          <a:r>
            <a:rPr lang="pl-PL" dirty="0"/>
            <a:t>Edge</a:t>
          </a:r>
          <a:endParaRPr lang="en-US" dirty="0"/>
        </a:p>
      </dgm:t>
    </dgm:pt>
    <dgm:pt modelId="{22ED26D3-561A-497F-A49B-E6F28145D81D}" type="parTrans" cxnId="{E9202E3A-3EAA-4616-BC7F-A0442B8DB360}">
      <dgm:prSet/>
      <dgm:spPr/>
      <dgm:t>
        <a:bodyPr/>
        <a:lstStyle/>
        <a:p>
          <a:endParaRPr lang="en-US"/>
        </a:p>
      </dgm:t>
    </dgm:pt>
    <dgm:pt modelId="{58752FBA-037F-4982-B05F-8E969774025A}" type="sibTrans" cxnId="{E9202E3A-3EAA-4616-BC7F-A0442B8DB360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1D2F278D-E367-45E1-A310-B940B5485070}">
      <dgm:prSet phldrT="[Text]"/>
      <dgm:spPr/>
      <dgm:t>
        <a:bodyPr/>
        <a:lstStyle/>
        <a:p>
          <a:r>
            <a:rPr lang="pl-PL" dirty="0"/>
            <a:t>Safari</a:t>
          </a:r>
          <a:endParaRPr lang="en-US" dirty="0"/>
        </a:p>
      </dgm:t>
    </dgm:pt>
    <dgm:pt modelId="{51691836-41A0-430D-A1B0-4458671E1134}" type="parTrans" cxnId="{AC742636-7722-438C-B5B1-9ACF143AC60D}">
      <dgm:prSet/>
      <dgm:spPr/>
      <dgm:t>
        <a:bodyPr/>
        <a:lstStyle/>
        <a:p>
          <a:endParaRPr lang="en-US"/>
        </a:p>
      </dgm:t>
    </dgm:pt>
    <dgm:pt modelId="{78DC22D0-0265-45B9-932C-F9F67C90DB69}" type="sibTrans" cxnId="{AC742636-7722-438C-B5B1-9ACF143AC60D}">
      <dgm:prSet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750B7A2E-AF22-42F9-A36A-A15734DC5EB8}">
      <dgm:prSet phldrT="[Text]"/>
      <dgm:spPr/>
      <dgm:t>
        <a:bodyPr/>
        <a:lstStyle/>
        <a:p>
          <a:r>
            <a:rPr lang="pl-PL" dirty="0"/>
            <a:t>Test Case</a:t>
          </a:r>
          <a:endParaRPr lang="en-US" dirty="0"/>
        </a:p>
      </dgm:t>
    </dgm:pt>
    <dgm:pt modelId="{B7A8C974-168E-4A51-B985-8E794127B901}" type="parTrans" cxnId="{66D4FF36-0A10-43FB-B26D-E51F878DFD28}">
      <dgm:prSet/>
      <dgm:spPr/>
      <dgm:t>
        <a:bodyPr/>
        <a:lstStyle/>
        <a:p>
          <a:endParaRPr lang="en-US"/>
        </a:p>
      </dgm:t>
    </dgm:pt>
    <dgm:pt modelId="{73B14BAD-9852-439F-9830-12AF3CDFA17D}" type="sibTrans" cxnId="{66D4FF36-0A10-43FB-B26D-E51F878DFD28}">
      <dgm:prSet/>
      <dgm:spPr/>
      <dgm:t>
        <a:bodyPr/>
        <a:lstStyle/>
        <a:p>
          <a:endParaRPr lang="en-US"/>
        </a:p>
      </dgm:t>
    </dgm:pt>
    <dgm:pt modelId="{38411F0B-74A5-42E8-A6DD-FC446D7966ED}" type="pres">
      <dgm:prSet presAssocID="{B8AAF6D0-E871-4E37-972D-E872EA8C8E66}" presName="Name0" presStyleCnt="0">
        <dgm:presLayoutVars>
          <dgm:chMax val="7"/>
          <dgm:chPref val="7"/>
          <dgm:dir/>
        </dgm:presLayoutVars>
      </dgm:prSet>
      <dgm:spPr/>
    </dgm:pt>
    <dgm:pt modelId="{696DF9F0-5CBB-4487-AE4F-141E674E7F02}" type="pres">
      <dgm:prSet presAssocID="{B8AAF6D0-E871-4E37-972D-E872EA8C8E66}" presName="Name1" presStyleCnt="0"/>
      <dgm:spPr/>
    </dgm:pt>
    <dgm:pt modelId="{ECEDDEDD-56C8-4957-A42C-BCB1F5A345A7}" type="pres">
      <dgm:prSet presAssocID="{73B14BAD-9852-439F-9830-12AF3CDFA17D}" presName="picture_1" presStyleCnt="0"/>
      <dgm:spPr/>
    </dgm:pt>
    <dgm:pt modelId="{0323BBF4-1777-4255-BB7C-85A8BA3AB15B}" type="pres">
      <dgm:prSet presAssocID="{73B14BAD-9852-439F-9830-12AF3CDFA17D}" presName="pictureRepeatNode" presStyleLbl="alignImgPlace1" presStyleIdx="0" presStyleCnt="6"/>
      <dgm:spPr/>
    </dgm:pt>
    <dgm:pt modelId="{29F4EE00-52BC-47CD-A931-E9C941C057D0}" type="pres">
      <dgm:prSet presAssocID="{750B7A2E-AF22-42F9-A36A-A15734DC5EB8}" presName="text_1" presStyleLbl="node1" presStyleIdx="0" presStyleCnt="0">
        <dgm:presLayoutVars>
          <dgm:bulletEnabled val="1"/>
        </dgm:presLayoutVars>
      </dgm:prSet>
      <dgm:spPr/>
    </dgm:pt>
    <dgm:pt modelId="{8624B391-B45E-46B4-91A0-E59EEFAAD59E}" type="pres">
      <dgm:prSet presAssocID="{714DFA6C-4CBD-45E6-AA6E-95FF69DF1DA1}" presName="picture_2" presStyleCnt="0"/>
      <dgm:spPr/>
    </dgm:pt>
    <dgm:pt modelId="{DC852C99-4FEF-4D0D-8CAE-ED403A04D519}" type="pres">
      <dgm:prSet presAssocID="{714DFA6C-4CBD-45E6-AA6E-95FF69DF1DA1}" presName="pictureRepeatNode" presStyleLbl="alignImgPlace1" presStyleIdx="1" presStyleCnt="6"/>
      <dgm:spPr/>
    </dgm:pt>
    <dgm:pt modelId="{2AFC82AF-345D-4C09-998B-B37988F368AB}" type="pres">
      <dgm:prSet presAssocID="{F41AF6B8-101A-4A07-A1BE-B99FD10354F5}" presName="line_2" presStyleLbl="parChTrans1D1" presStyleIdx="0" presStyleCnt="5"/>
      <dgm:spPr/>
    </dgm:pt>
    <dgm:pt modelId="{3D2A546C-3DB8-423C-BE42-5D7A1F992CB6}" type="pres">
      <dgm:prSet presAssocID="{F41AF6B8-101A-4A07-A1BE-B99FD10354F5}" presName="textparent_2" presStyleLbl="node1" presStyleIdx="0" presStyleCnt="0"/>
      <dgm:spPr/>
    </dgm:pt>
    <dgm:pt modelId="{7915C0C8-6AB4-4FB1-9E85-7B51E2B4D65E}" type="pres">
      <dgm:prSet presAssocID="{F41AF6B8-101A-4A07-A1BE-B99FD10354F5}" presName="text_2" presStyleLbl="revTx" presStyleIdx="0" presStyleCnt="5">
        <dgm:presLayoutVars>
          <dgm:bulletEnabled val="1"/>
        </dgm:presLayoutVars>
      </dgm:prSet>
      <dgm:spPr/>
    </dgm:pt>
    <dgm:pt modelId="{2DA7C8D2-BF1D-494F-8612-C4F58BA8C756}" type="pres">
      <dgm:prSet presAssocID="{88291707-E81A-43DE-B684-6F5661869A1E}" presName="picture_3" presStyleCnt="0"/>
      <dgm:spPr/>
    </dgm:pt>
    <dgm:pt modelId="{722A2388-5452-4171-AAE1-0AD62A514536}" type="pres">
      <dgm:prSet presAssocID="{88291707-E81A-43DE-B684-6F5661869A1E}" presName="pictureRepeatNode" presStyleLbl="alignImgPlace1" presStyleIdx="2" presStyleCnt="6"/>
      <dgm:spPr/>
    </dgm:pt>
    <dgm:pt modelId="{DE3AC67D-9596-4631-92EB-5F4EB3AC5CA1}" type="pres">
      <dgm:prSet presAssocID="{395B2139-AA25-4D78-9352-726EC192A560}" presName="line_3" presStyleLbl="parChTrans1D1" presStyleIdx="1" presStyleCnt="5"/>
      <dgm:spPr/>
    </dgm:pt>
    <dgm:pt modelId="{9A1CFC50-4EEF-49BD-909C-D9E65D44D515}" type="pres">
      <dgm:prSet presAssocID="{395B2139-AA25-4D78-9352-726EC192A560}" presName="textparent_3" presStyleLbl="node1" presStyleIdx="0" presStyleCnt="0"/>
      <dgm:spPr/>
    </dgm:pt>
    <dgm:pt modelId="{69D0C59C-AE21-4623-AC99-D85A80AA0B67}" type="pres">
      <dgm:prSet presAssocID="{395B2139-AA25-4D78-9352-726EC192A560}" presName="text_3" presStyleLbl="revTx" presStyleIdx="1" presStyleCnt="5">
        <dgm:presLayoutVars>
          <dgm:bulletEnabled val="1"/>
        </dgm:presLayoutVars>
      </dgm:prSet>
      <dgm:spPr/>
    </dgm:pt>
    <dgm:pt modelId="{C4463296-9604-4225-8299-D62EDC0D47B0}" type="pres">
      <dgm:prSet presAssocID="{DB7973F9-4C83-4DA0-9ADE-8944642DC306}" presName="picture_4" presStyleCnt="0"/>
      <dgm:spPr/>
    </dgm:pt>
    <dgm:pt modelId="{197E2407-977F-4494-A309-ED68EB525F1C}" type="pres">
      <dgm:prSet presAssocID="{DB7973F9-4C83-4DA0-9ADE-8944642DC306}" presName="pictureRepeatNode" presStyleLbl="alignImgPlace1" presStyleIdx="3" presStyleCnt="6"/>
      <dgm:spPr/>
    </dgm:pt>
    <dgm:pt modelId="{49F3E5C6-CE45-4BAF-83BC-98976A999C4E}" type="pres">
      <dgm:prSet presAssocID="{5DD55B11-E719-40F7-A036-DF0BED517F97}" presName="line_4" presStyleLbl="parChTrans1D1" presStyleIdx="2" presStyleCnt="5"/>
      <dgm:spPr/>
    </dgm:pt>
    <dgm:pt modelId="{C8F93DE8-E979-4EA0-8631-6B2C015F978B}" type="pres">
      <dgm:prSet presAssocID="{5DD55B11-E719-40F7-A036-DF0BED517F97}" presName="textparent_4" presStyleLbl="node1" presStyleIdx="0" presStyleCnt="0"/>
      <dgm:spPr/>
    </dgm:pt>
    <dgm:pt modelId="{B14BB057-6DD1-4F35-945F-021EC9BC3509}" type="pres">
      <dgm:prSet presAssocID="{5DD55B11-E719-40F7-A036-DF0BED517F97}" presName="text_4" presStyleLbl="revTx" presStyleIdx="2" presStyleCnt="5">
        <dgm:presLayoutVars>
          <dgm:bulletEnabled val="1"/>
        </dgm:presLayoutVars>
      </dgm:prSet>
      <dgm:spPr/>
    </dgm:pt>
    <dgm:pt modelId="{87FF9D06-ED0E-4B5E-AD1F-92DA429B48F6}" type="pres">
      <dgm:prSet presAssocID="{58752FBA-037F-4982-B05F-8E969774025A}" presName="picture_5" presStyleCnt="0"/>
      <dgm:spPr/>
    </dgm:pt>
    <dgm:pt modelId="{120C5453-F474-443E-82F0-1DBCAE38B02E}" type="pres">
      <dgm:prSet presAssocID="{58752FBA-037F-4982-B05F-8E969774025A}" presName="pictureRepeatNode" presStyleLbl="alignImgPlace1" presStyleIdx="4" presStyleCnt="6"/>
      <dgm:spPr/>
    </dgm:pt>
    <dgm:pt modelId="{100DDB88-5A2A-49E6-81B0-27BA4122CA10}" type="pres">
      <dgm:prSet presAssocID="{B479D6EF-E938-4B1F-99DB-2E98D9EF390E}" presName="line_5" presStyleLbl="parChTrans1D1" presStyleIdx="3" presStyleCnt="5"/>
      <dgm:spPr/>
    </dgm:pt>
    <dgm:pt modelId="{9D51FC8C-3899-4FF2-824D-07EFA2911B84}" type="pres">
      <dgm:prSet presAssocID="{B479D6EF-E938-4B1F-99DB-2E98D9EF390E}" presName="textparent_5" presStyleLbl="node1" presStyleIdx="0" presStyleCnt="0"/>
      <dgm:spPr/>
    </dgm:pt>
    <dgm:pt modelId="{666D3C8F-3ED7-45DA-9B4F-815FE24BAA24}" type="pres">
      <dgm:prSet presAssocID="{B479D6EF-E938-4B1F-99DB-2E98D9EF390E}" presName="text_5" presStyleLbl="revTx" presStyleIdx="3" presStyleCnt="5">
        <dgm:presLayoutVars>
          <dgm:bulletEnabled val="1"/>
        </dgm:presLayoutVars>
      </dgm:prSet>
      <dgm:spPr/>
    </dgm:pt>
    <dgm:pt modelId="{A1A6ACDA-06E2-4A3C-937A-BB0FDA86B560}" type="pres">
      <dgm:prSet presAssocID="{78DC22D0-0265-45B9-932C-F9F67C90DB69}" presName="picture_6" presStyleCnt="0"/>
      <dgm:spPr/>
    </dgm:pt>
    <dgm:pt modelId="{3BD2304B-2EF6-408B-B9E6-AFF01416676D}" type="pres">
      <dgm:prSet presAssocID="{78DC22D0-0265-45B9-932C-F9F67C90DB69}" presName="pictureRepeatNode" presStyleLbl="alignImgPlace1" presStyleIdx="5" presStyleCnt="6"/>
      <dgm:spPr/>
    </dgm:pt>
    <dgm:pt modelId="{239E82A7-3379-4F15-868C-7AF8382721B2}" type="pres">
      <dgm:prSet presAssocID="{1D2F278D-E367-45E1-A310-B940B5485070}" presName="line_6" presStyleLbl="parChTrans1D1" presStyleIdx="4" presStyleCnt="5"/>
      <dgm:spPr/>
    </dgm:pt>
    <dgm:pt modelId="{DF45F1B7-D3CC-47C6-9B9F-9B641753310E}" type="pres">
      <dgm:prSet presAssocID="{1D2F278D-E367-45E1-A310-B940B5485070}" presName="textparent_6" presStyleLbl="node1" presStyleIdx="0" presStyleCnt="0"/>
      <dgm:spPr/>
    </dgm:pt>
    <dgm:pt modelId="{C8EA4164-9DB2-4D63-B2A9-8EAEE97DBDDA}" type="pres">
      <dgm:prSet presAssocID="{1D2F278D-E367-45E1-A310-B940B5485070}" presName="text_6" presStyleLbl="revTx" presStyleIdx="4" presStyleCnt="5">
        <dgm:presLayoutVars>
          <dgm:bulletEnabled val="1"/>
        </dgm:presLayoutVars>
      </dgm:prSet>
      <dgm:spPr/>
    </dgm:pt>
  </dgm:ptLst>
  <dgm:cxnLst>
    <dgm:cxn modelId="{62FD5512-B19F-4901-BEC8-99CB28DA07B4}" srcId="{B8AAF6D0-E871-4E37-972D-E872EA8C8E66}" destId="{F41AF6B8-101A-4A07-A1BE-B99FD10354F5}" srcOrd="1" destOrd="0" parTransId="{ABDEEA6F-CE2A-4CC2-8C30-5B6FE4E6DD33}" sibTransId="{714DFA6C-4CBD-45E6-AA6E-95FF69DF1DA1}"/>
    <dgm:cxn modelId="{2933BF12-87CE-4B85-B5AE-6A1A80EED04D}" type="presOf" srcId="{58752FBA-037F-4982-B05F-8E969774025A}" destId="{120C5453-F474-443E-82F0-1DBCAE38B02E}" srcOrd="0" destOrd="0" presId="urn:microsoft.com/office/officeart/2008/layout/CircularPictureCallout"/>
    <dgm:cxn modelId="{0FC4F81E-221D-44DF-B48D-1B2114ABE524}" type="presOf" srcId="{B8AAF6D0-E871-4E37-972D-E872EA8C8E66}" destId="{38411F0B-74A5-42E8-A6DD-FC446D7966ED}" srcOrd="0" destOrd="0" presId="urn:microsoft.com/office/officeart/2008/layout/CircularPictureCallout"/>
    <dgm:cxn modelId="{11D9E826-6474-4BA8-92C7-4ABF65AC54ED}" type="presOf" srcId="{1D2F278D-E367-45E1-A310-B940B5485070}" destId="{C8EA4164-9DB2-4D63-B2A9-8EAEE97DBDDA}" srcOrd="0" destOrd="0" presId="urn:microsoft.com/office/officeart/2008/layout/CircularPictureCallout"/>
    <dgm:cxn modelId="{F2A0B22C-7D00-421C-B5FF-F4B470D05E12}" type="presOf" srcId="{714DFA6C-4CBD-45E6-AA6E-95FF69DF1DA1}" destId="{DC852C99-4FEF-4D0D-8CAE-ED403A04D519}" srcOrd="0" destOrd="0" presId="urn:microsoft.com/office/officeart/2008/layout/CircularPictureCallout"/>
    <dgm:cxn modelId="{08C1EA33-F8B9-4E66-85BE-85D04956907C}" srcId="{B8AAF6D0-E871-4E37-972D-E872EA8C8E66}" destId="{395B2139-AA25-4D78-9352-726EC192A560}" srcOrd="2" destOrd="0" parTransId="{FE578BFB-7A95-4BE0-A5A7-68146AB3BB4E}" sibTransId="{88291707-E81A-43DE-B684-6F5661869A1E}"/>
    <dgm:cxn modelId="{23C56B34-C7EF-43F8-BEFA-84BE3DB008A1}" type="presOf" srcId="{395B2139-AA25-4D78-9352-726EC192A560}" destId="{69D0C59C-AE21-4623-AC99-D85A80AA0B67}" srcOrd="0" destOrd="0" presId="urn:microsoft.com/office/officeart/2008/layout/CircularPictureCallout"/>
    <dgm:cxn modelId="{AC742636-7722-438C-B5B1-9ACF143AC60D}" srcId="{B8AAF6D0-E871-4E37-972D-E872EA8C8E66}" destId="{1D2F278D-E367-45E1-A310-B940B5485070}" srcOrd="5" destOrd="0" parTransId="{51691836-41A0-430D-A1B0-4458671E1134}" sibTransId="{78DC22D0-0265-45B9-932C-F9F67C90DB69}"/>
    <dgm:cxn modelId="{66D4FF36-0A10-43FB-B26D-E51F878DFD28}" srcId="{B8AAF6D0-E871-4E37-972D-E872EA8C8E66}" destId="{750B7A2E-AF22-42F9-A36A-A15734DC5EB8}" srcOrd="0" destOrd="0" parTransId="{B7A8C974-168E-4A51-B985-8E794127B901}" sibTransId="{73B14BAD-9852-439F-9830-12AF3CDFA17D}"/>
    <dgm:cxn modelId="{E9202E3A-3EAA-4616-BC7F-A0442B8DB360}" srcId="{B8AAF6D0-E871-4E37-972D-E872EA8C8E66}" destId="{B479D6EF-E938-4B1F-99DB-2E98D9EF390E}" srcOrd="4" destOrd="0" parTransId="{22ED26D3-561A-497F-A49B-E6F28145D81D}" sibTransId="{58752FBA-037F-4982-B05F-8E969774025A}"/>
    <dgm:cxn modelId="{13828641-F05D-4393-99C5-35E6313DD8BF}" type="presOf" srcId="{78DC22D0-0265-45B9-932C-F9F67C90DB69}" destId="{3BD2304B-2EF6-408B-B9E6-AFF01416676D}" srcOrd="0" destOrd="0" presId="urn:microsoft.com/office/officeart/2008/layout/CircularPictureCallout"/>
    <dgm:cxn modelId="{4E73AF6D-2BA6-43AE-858F-43C390B8CF14}" type="presOf" srcId="{73B14BAD-9852-439F-9830-12AF3CDFA17D}" destId="{0323BBF4-1777-4255-BB7C-85A8BA3AB15B}" srcOrd="0" destOrd="0" presId="urn:microsoft.com/office/officeart/2008/layout/CircularPictureCallout"/>
    <dgm:cxn modelId="{D5CB327E-DF6F-45BA-ACEA-68A3AD179B89}" type="presOf" srcId="{DB7973F9-4C83-4DA0-9ADE-8944642DC306}" destId="{197E2407-977F-4494-A309-ED68EB525F1C}" srcOrd="0" destOrd="0" presId="urn:microsoft.com/office/officeart/2008/layout/CircularPictureCallout"/>
    <dgm:cxn modelId="{15981A9A-2D6E-495F-8E9E-EBB021EEAC9E}" type="presOf" srcId="{B479D6EF-E938-4B1F-99DB-2E98D9EF390E}" destId="{666D3C8F-3ED7-45DA-9B4F-815FE24BAA24}" srcOrd="0" destOrd="0" presId="urn:microsoft.com/office/officeart/2008/layout/CircularPictureCallout"/>
    <dgm:cxn modelId="{20E166D1-362B-4107-9D79-61958618BE18}" type="presOf" srcId="{750B7A2E-AF22-42F9-A36A-A15734DC5EB8}" destId="{29F4EE00-52BC-47CD-A931-E9C941C057D0}" srcOrd="0" destOrd="0" presId="urn:microsoft.com/office/officeart/2008/layout/CircularPictureCallout"/>
    <dgm:cxn modelId="{CB5DD8D1-3CD4-4FE9-B2D0-4777CBA3B5A8}" type="presOf" srcId="{5DD55B11-E719-40F7-A036-DF0BED517F97}" destId="{B14BB057-6DD1-4F35-945F-021EC9BC3509}" srcOrd="0" destOrd="0" presId="urn:microsoft.com/office/officeart/2008/layout/CircularPictureCallout"/>
    <dgm:cxn modelId="{12C930DB-0065-4066-B796-51D62F365EB2}" srcId="{B8AAF6D0-E871-4E37-972D-E872EA8C8E66}" destId="{5DD55B11-E719-40F7-A036-DF0BED517F97}" srcOrd="3" destOrd="0" parTransId="{2893C0AA-706D-4331-B395-825DAEE18639}" sibTransId="{DB7973F9-4C83-4DA0-9ADE-8944642DC306}"/>
    <dgm:cxn modelId="{BFE8C9DC-0CE5-4E34-82E3-A4BF8FFFF589}" type="presOf" srcId="{88291707-E81A-43DE-B684-6F5661869A1E}" destId="{722A2388-5452-4171-AAE1-0AD62A514536}" srcOrd="0" destOrd="0" presId="urn:microsoft.com/office/officeart/2008/layout/CircularPictureCallout"/>
    <dgm:cxn modelId="{64CD5FFF-FE7F-4F4A-80C5-AD89D8B0347E}" type="presOf" srcId="{F41AF6B8-101A-4A07-A1BE-B99FD10354F5}" destId="{7915C0C8-6AB4-4FB1-9E85-7B51E2B4D65E}" srcOrd="0" destOrd="0" presId="urn:microsoft.com/office/officeart/2008/layout/CircularPictureCallout"/>
    <dgm:cxn modelId="{293C0BC5-B983-446E-ACB3-0EA73CF0785F}" type="presParOf" srcId="{38411F0B-74A5-42E8-A6DD-FC446D7966ED}" destId="{696DF9F0-5CBB-4487-AE4F-141E674E7F02}" srcOrd="0" destOrd="0" presId="urn:microsoft.com/office/officeart/2008/layout/CircularPictureCallout"/>
    <dgm:cxn modelId="{12F6547B-CA20-4B2F-B4D9-7248192072CC}" type="presParOf" srcId="{696DF9F0-5CBB-4487-AE4F-141E674E7F02}" destId="{ECEDDEDD-56C8-4957-A42C-BCB1F5A345A7}" srcOrd="0" destOrd="0" presId="urn:microsoft.com/office/officeart/2008/layout/CircularPictureCallout"/>
    <dgm:cxn modelId="{FF47B618-BDED-4143-AE0D-17A4E8D8C37B}" type="presParOf" srcId="{ECEDDEDD-56C8-4957-A42C-BCB1F5A345A7}" destId="{0323BBF4-1777-4255-BB7C-85A8BA3AB15B}" srcOrd="0" destOrd="0" presId="urn:microsoft.com/office/officeart/2008/layout/CircularPictureCallout"/>
    <dgm:cxn modelId="{9EF7A6D2-B37C-40AC-B029-89DC220FF8B0}" type="presParOf" srcId="{696DF9F0-5CBB-4487-AE4F-141E674E7F02}" destId="{29F4EE00-52BC-47CD-A931-E9C941C057D0}" srcOrd="1" destOrd="0" presId="urn:microsoft.com/office/officeart/2008/layout/CircularPictureCallout"/>
    <dgm:cxn modelId="{87928E61-3244-41B6-8B11-26A34DB21978}" type="presParOf" srcId="{696DF9F0-5CBB-4487-AE4F-141E674E7F02}" destId="{8624B391-B45E-46B4-91A0-E59EEFAAD59E}" srcOrd="2" destOrd="0" presId="urn:microsoft.com/office/officeart/2008/layout/CircularPictureCallout"/>
    <dgm:cxn modelId="{ED45D8C5-D0BC-44E4-BE90-4D8547B8C0AD}" type="presParOf" srcId="{8624B391-B45E-46B4-91A0-E59EEFAAD59E}" destId="{DC852C99-4FEF-4D0D-8CAE-ED403A04D519}" srcOrd="0" destOrd="0" presId="urn:microsoft.com/office/officeart/2008/layout/CircularPictureCallout"/>
    <dgm:cxn modelId="{A7600308-81A1-4F86-B680-5150C13D6E96}" type="presParOf" srcId="{696DF9F0-5CBB-4487-AE4F-141E674E7F02}" destId="{2AFC82AF-345D-4C09-998B-B37988F368AB}" srcOrd="3" destOrd="0" presId="urn:microsoft.com/office/officeart/2008/layout/CircularPictureCallout"/>
    <dgm:cxn modelId="{B3FB0C41-D5B8-4C60-AFC6-08E629449A89}" type="presParOf" srcId="{696DF9F0-5CBB-4487-AE4F-141E674E7F02}" destId="{3D2A546C-3DB8-423C-BE42-5D7A1F992CB6}" srcOrd="4" destOrd="0" presId="urn:microsoft.com/office/officeart/2008/layout/CircularPictureCallout"/>
    <dgm:cxn modelId="{EA5859BD-8F86-4764-A513-16817AF12006}" type="presParOf" srcId="{3D2A546C-3DB8-423C-BE42-5D7A1F992CB6}" destId="{7915C0C8-6AB4-4FB1-9E85-7B51E2B4D65E}" srcOrd="0" destOrd="0" presId="urn:microsoft.com/office/officeart/2008/layout/CircularPictureCallout"/>
    <dgm:cxn modelId="{6B027EAA-72FC-4C22-A23E-F6EE64BE5E8E}" type="presParOf" srcId="{696DF9F0-5CBB-4487-AE4F-141E674E7F02}" destId="{2DA7C8D2-BF1D-494F-8612-C4F58BA8C756}" srcOrd="5" destOrd="0" presId="urn:microsoft.com/office/officeart/2008/layout/CircularPictureCallout"/>
    <dgm:cxn modelId="{94DC3099-90B6-42C3-93A0-B754F7086F8F}" type="presParOf" srcId="{2DA7C8D2-BF1D-494F-8612-C4F58BA8C756}" destId="{722A2388-5452-4171-AAE1-0AD62A514536}" srcOrd="0" destOrd="0" presId="urn:microsoft.com/office/officeart/2008/layout/CircularPictureCallout"/>
    <dgm:cxn modelId="{743D4635-9535-46E0-BF3C-795943E73D01}" type="presParOf" srcId="{696DF9F0-5CBB-4487-AE4F-141E674E7F02}" destId="{DE3AC67D-9596-4631-92EB-5F4EB3AC5CA1}" srcOrd="6" destOrd="0" presId="urn:microsoft.com/office/officeart/2008/layout/CircularPictureCallout"/>
    <dgm:cxn modelId="{0F104CCB-8636-4430-B47D-25CBABD8F212}" type="presParOf" srcId="{696DF9F0-5CBB-4487-AE4F-141E674E7F02}" destId="{9A1CFC50-4EEF-49BD-909C-D9E65D44D515}" srcOrd="7" destOrd="0" presId="urn:microsoft.com/office/officeart/2008/layout/CircularPictureCallout"/>
    <dgm:cxn modelId="{A52BA8DE-74C1-4321-BBAC-D5E5C77813DF}" type="presParOf" srcId="{9A1CFC50-4EEF-49BD-909C-D9E65D44D515}" destId="{69D0C59C-AE21-4623-AC99-D85A80AA0B67}" srcOrd="0" destOrd="0" presId="urn:microsoft.com/office/officeart/2008/layout/CircularPictureCallout"/>
    <dgm:cxn modelId="{3A447809-5392-4607-9EB9-4D51B1E079D4}" type="presParOf" srcId="{696DF9F0-5CBB-4487-AE4F-141E674E7F02}" destId="{C4463296-9604-4225-8299-D62EDC0D47B0}" srcOrd="8" destOrd="0" presId="urn:microsoft.com/office/officeart/2008/layout/CircularPictureCallout"/>
    <dgm:cxn modelId="{65C6013C-B77D-4272-B376-B82CA7D223E1}" type="presParOf" srcId="{C4463296-9604-4225-8299-D62EDC0D47B0}" destId="{197E2407-977F-4494-A309-ED68EB525F1C}" srcOrd="0" destOrd="0" presId="urn:microsoft.com/office/officeart/2008/layout/CircularPictureCallout"/>
    <dgm:cxn modelId="{0BBB9A4A-60D2-4C3F-90C9-6D9DC6FD105C}" type="presParOf" srcId="{696DF9F0-5CBB-4487-AE4F-141E674E7F02}" destId="{49F3E5C6-CE45-4BAF-83BC-98976A999C4E}" srcOrd="9" destOrd="0" presId="urn:microsoft.com/office/officeart/2008/layout/CircularPictureCallout"/>
    <dgm:cxn modelId="{3E3A6881-5E47-497D-88EE-191CF193E54E}" type="presParOf" srcId="{696DF9F0-5CBB-4487-AE4F-141E674E7F02}" destId="{C8F93DE8-E979-4EA0-8631-6B2C015F978B}" srcOrd="10" destOrd="0" presId="urn:microsoft.com/office/officeart/2008/layout/CircularPictureCallout"/>
    <dgm:cxn modelId="{6D140EA1-7AD2-4F8E-91CF-A276DBF5B512}" type="presParOf" srcId="{C8F93DE8-E979-4EA0-8631-6B2C015F978B}" destId="{B14BB057-6DD1-4F35-945F-021EC9BC3509}" srcOrd="0" destOrd="0" presId="urn:microsoft.com/office/officeart/2008/layout/CircularPictureCallout"/>
    <dgm:cxn modelId="{1EDFB1D1-53B1-4889-AC6A-346C77532874}" type="presParOf" srcId="{696DF9F0-5CBB-4487-AE4F-141E674E7F02}" destId="{87FF9D06-ED0E-4B5E-AD1F-92DA429B48F6}" srcOrd="11" destOrd="0" presId="urn:microsoft.com/office/officeart/2008/layout/CircularPictureCallout"/>
    <dgm:cxn modelId="{78D53B2C-F0F5-43C6-B489-E40D68235FB6}" type="presParOf" srcId="{87FF9D06-ED0E-4B5E-AD1F-92DA429B48F6}" destId="{120C5453-F474-443E-82F0-1DBCAE38B02E}" srcOrd="0" destOrd="0" presId="urn:microsoft.com/office/officeart/2008/layout/CircularPictureCallout"/>
    <dgm:cxn modelId="{32E08EAA-F494-4604-9F84-7CAD974AE694}" type="presParOf" srcId="{696DF9F0-5CBB-4487-AE4F-141E674E7F02}" destId="{100DDB88-5A2A-49E6-81B0-27BA4122CA10}" srcOrd="12" destOrd="0" presId="urn:microsoft.com/office/officeart/2008/layout/CircularPictureCallout"/>
    <dgm:cxn modelId="{10D47ADD-A840-4043-98AE-E0136C97A520}" type="presParOf" srcId="{696DF9F0-5CBB-4487-AE4F-141E674E7F02}" destId="{9D51FC8C-3899-4FF2-824D-07EFA2911B84}" srcOrd="13" destOrd="0" presId="urn:microsoft.com/office/officeart/2008/layout/CircularPictureCallout"/>
    <dgm:cxn modelId="{1ED1683A-B675-42A7-8750-04320385BC90}" type="presParOf" srcId="{9D51FC8C-3899-4FF2-824D-07EFA2911B84}" destId="{666D3C8F-3ED7-45DA-9B4F-815FE24BAA24}" srcOrd="0" destOrd="0" presId="urn:microsoft.com/office/officeart/2008/layout/CircularPictureCallout"/>
    <dgm:cxn modelId="{823EE3E2-5C30-4AC3-A738-D446C23C981A}" type="presParOf" srcId="{696DF9F0-5CBB-4487-AE4F-141E674E7F02}" destId="{A1A6ACDA-06E2-4A3C-937A-BB0FDA86B560}" srcOrd="14" destOrd="0" presId="urn:microsoft.com/office/officeart/2008/layout/CircularPictureCallout"/>
    <dgm:cxn modelId="{031FA637-6D70-4657-9AD8-B4270B8FAF0D}" type="presParOf" srcId="{A1A6ACDA-06E2-4A3C-937A-BB0FDA86B560}" destId="{3BD2304B-2EF6-408B-B9E6-AFF01416676D}" srcOrd="0" destOrd="0" presId="urn:microsoft.com/office/officeart/2008/layout/CircularPictureCallout"/>
    <dgm:cxn modelId="{7312B834-D980-4D03-891C-50256D99E6FE}" type="presParOf" srcId="{696DF9F0-5CBB-4487-AE4F-141E674E7F02}" destId="{239E82A7-3379-4F15-868C-7AF8382721B2}" srcOrd="15" destOrd="0" presId="urn:microsoft.com/office/officeart/2008/layout/CircularPictureCallout"/>
    <dgm:cxn modelId="{ADAF8183-485C-4165-B1E7-2AE9E2EA8C62}" type="presParOf" srcId="{696DF9F0-5CBB-4487-AE4F-141E674E7F02}" destId="{DF45F1B7-D3CC-47C6-9B9F-9B641753310E}" srcOrd="16" destOrd="0" presId="urn:microsoft.com/office/officeart/2008/layout/CircularPictureCallout"/>
    <dgm:cxn modelId="{478858BB-AEDC-4E2F-84F5-7A716AD890D9}" type="presParOf" srcId="{DF45F1B7-D3CC-47C6-9B9F-9B641753310E}" destId="{C8EA4164-9DB2-4D63-B2A9-8EAEE97DBDDA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B8AAF6D0-E871-4E37-972D-E872EA8C8E66}" type="doc">
      <dgm:prSet loTypeId="urn:microsoft.com/office/officeart/2005/8/layout/hierarchy6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41AF6B8-101A-4A07-A1BE-B99FD10354F5}">
      <dgm:prSet phldrT="[Text]"/>
      <dgm:spPr/>
      <dgm:t>
        <a:bodyPr/>
        <a:lstStyle/>
        <a:p>
          <a:r>
            <a:rPr lang="pl-PL" dirty="0"/>
            <a:t>Test Case</a:t>
          </a:r>
          <a:endParaRPr lang="en-US" dirty="0"/>
        </a:p>
      </dgm:t>
    </dgm:pt>
    <dgm:pt modelId="{ABDEEA6F-CE2A-4CC2-8C30-5B6FE4E6DD33}" type="parTrans" cxnId="{62FD5512-B19F-4901-BEC8-99CB28DA07B4}">
      <dgm:prSet/>
      <dgm:spPr/>
      <dgm:t>
        <a:bodyPr/>
        <a:lstStyle/>
        <a:p>
          <a:endParaRPr lang="en-US"/>
        </a:p>
      </dgm:t>
    </dgm:pt>
    <dgm:pt modelId="{714DFA6C-4CBD-45E6-AA6E-95FF69DF1DA1}" type="sibTrans" cxnId="{62FD5512-B19F-4901-BEC8-99CB28DA07B4}">
      <dgm:prSet/>
      <dgm:spPr/>
      <dgm:t>
        <a:bodyPr/>
        <a:lstStyle/>
        <a:p>
          <a:endParaRPr lang="en-US"/>
        </a:p>
      </dgm:t>
    </dgm:pt>
    <dgm:pt modelId="{7F27F106-7F70-46C6-B41C-59580BF9C248}">
      <dgm:prSet phldrT="[Text]"/>
      <dgm:spPr/>
      <dgm:t>
        <a:bodyPr/>
        <a:lstStyle/>
        <a:p>
          <a:r>
            <a:rPr lang="pl-PL" dirty="0"/>
            <a:t>Android</a:t>
          </a:r>
          <a:endParaRPr lang="en-US" dirty="0"/>
        </a:p>
      </dgm:t>
    </dgm:pt>
    <dgm:pt modelId="{6A7E9AC7-6D61-49A0-A326-72D0ED6B8479}" type="parTrans" cxnId="{7D97BE33-E62D-46CC-9503-B3938A657A56}">
      <dgm:prSet/>
      <dgm:spPr/>
      <dgm:t>
        <a:bodyPr/>
        <a:lstStyle/>
        <a:p>
          <a:endParaRPr lang="en-US"/>
        </a:p>
      </dgm:t>
    </dgm:pt>
    <dgm:pt modelId="{F65E153D-BB39-47FE-8312-1A59DF626488}" type="sibTrans" cxnId="{7D97BE33-E62D-46CC-9503-B3938A657A56}">
      <dgm:prSet/>
      <dgm:spPr/>
      <dgm:t>
        <a:bodyPr/>
        <a:lstStyle/>
        <a:p>
          <a:endParaRPr lang="en-US"/>
        </a:p>
      </dgm:t>
    </dgm:pt>
    <dgm:pt modelId="{E7713F32-AFC3-4846-A8E2-1F71E7D5820D}">
      <dgm:prSet phldrT="[Text]"/>
      <dgm:spPr/>
      <dgm:t>
        <a:bodyPr/>
        <a:lstStyle/>
        <a:p>
          <a:r>
            <a:rPr lang="pl-PL" dirty="0"/>
            <a:t>iOS</a:t>
          </a:r>
          <a:endParaRPr lang="en-US" dirty="0"/>
        </a:p>
      </dgm:t>
    </dgm:pt>
    <dgm:pt modelId="{5738B2FD-75A4-492F-96F8-828BECCDAFC1}" type="parTrans" cxnId="{AB109F89-D456-4552-A8C2-94F12903B64D}">
      <dgm:prSet/>
      <dgm:spPr/>
      <dgm:t>
        <a:bodyPr/>
        <a:lstStyle/>
        <a:p>
          <a:endParaRPr lang="en-US"/>
        </a:p>
      </dgm:t>
    </dgm:pt>
    <dgm:pt modelId="{FA47A6BF-93B0-4585-9E3C-01B5A6113852}" type="sibTrans" cxnId="{AB109F89-D456-4552-A8C2-94F12903B64D}">
      <dgm:prSet/>
      <dgm:spPr/>
      <dgm:t>
        <a:bodyPr/>
        <a:lstStyle/>
        <a:p>
          <a:endParaRPr lang="en-US"/>
        </a:p>
      </dgm:t>
    </dgm:pt>
    <dgm:pt modelId="{E1C1FA24-883F-403F-86AE-19FC703A08F7}">
      <dgm:prSet phldrT="[Text]"/>
      <dgm:spPr/>
      <dgm:t>
        <a:bodyPr/>
        <a:lstStyle/>
        <a:p>
          <a:r>
            <a:rPr lang="pl-PL" dirty="0"/>
            <a:t>Classic web</a:t>
          </a:r>
          <a:endParaRPr lang="en-US" dirty="0"/>
        </a:p>
      </dgm:t>
    </dgm:pt>
    <dgm:pt modelId="{CF9E5F86-396E-4E5A-BB88-1CD4F1E771AD}" type="parTrans" cxnId="{E3BB42EE-BA81-4FF4-84A9-871985FA1661}">
      <dgm:prSet/>
      <dgm:spPr/>
      <dgm:t>
        <a:bodyPr/>
        <a:lstStyle/>
        <a:p>
          <a:endParaRPr lang="en-US"/>
        </a:p>
      </dgm:t>
    </dgm:pt>
    <dgm:pt modelId="{E1AE541E-32A2-4809-8AF2-6FC62A6DE4BA}" type="sibTrans" cxnId="{E3BB42EE-BA81-4FF4-84A9-871985FA1661}">
      <dgm:prSet/>
      <dgm:spPr/>
      <dgm:t>
        <a:bodyPr/>
        <a:lstStyle/>
        <a:p>
          <a:endParaRPr lang="en-US"/>
        </a:p>
      </dgm:t>
    </dgm:pt>
    <dgm:pt modelId="{CD1BF240-1FF1-4C1C-9F23-D9871FE7306F}">
      <dgm:prSet phldrT="[Text]"/>
      <dgm:spPr/>
      <dgm:t>
        <a:bodyPr/>
        <a:lstStyle/>
        <a:p>
          <a:r>
            <a:rPr lang="pl-PL" dirty="0"/>
            <a:t>Mobile</a:t>
          </a:r>
          <a:endParaRPr lang="en-US" dirty="0"/>
        </a:p>
      </dgm:t>
    </dgm:pt>
    <dgm:pt modelId="{229FEB51-85EC-4A5E-987D-16198513AEE7}" type="parTrans" cxnId="{D09C168A-4D93-4B69-BB55-403F61060044}">
      <dgm:prSet/>
      <dgm:spPr/>
      <dgm:t>
        <a:bodyPr/>
        <a:lstStyle/>
        <a:p>
          <a:endParaRPr lang="en-US"/>
        </a:p>
      </dgm:t>
    </dgm:pt>
    <dgm:pt modelId="{0DC5A52C-4CC9-46FA-A66C-FEEF5F025B03}" type="sibTrans" cxnId="{D09C168A-4D93-4B69-BB55-403F61060044}">
      <dgm:prSet/>
      <dgm:spPr/>
      <dgm:t>
        <a:bodyPr/>
        <a:lstStyle/>
        <a:p>
          <a:endParaRPr lang="en-US"/>
        </a:p>
      </dgm:t>
    </dgm:pt>
    <dgm:pt modelId="{706321B8-0398-46B8-85C5-EE0157390685}">
      <dgm:prSet phldrT="[Text]"/>
      <dgm:spPr/>
      <dgm:t>
        <a:bodyPr/>
        <a:lstStyle/>
        <a:p>
          <a:r>
            <a:rPr lang="en-US" dirty="0"/>
            <a:t>Responsive Web Design</a:t>
          </a:r>
        </a:p>
      </dgm:t>
    </dgm:pt>
    <dgm:pt modelId="{E766E5AD-DFCB-4863-A70A-FE712049D874}" type="parTrans" cxnId="{B2D9499A-BDF4-482C-B88C-119C06065734}">
      <dgm:prSet/>
      <dgm:spPr/>
      <dgm:t>
        <a:bodyPr/>
        <a:lstStyle/>
        <a:p>
          <a:endParaRPr lang="en-US"/>
        </a:p>
      </dgm:t>
    </dgm:pt>
    <dgm:pt modelId="{930BAF1C-3BF7-44B4-A7A8-9FFEDDE3C061}" type="sibTrans" cxnId="{B2D9499A-BDF4-482C-B88C-119C06065734}">
      <dgm:prSet/>
      <dgm:spPr/>
      <dgm:t>
        <a:bodyPr/>
        <a:lstStyle/>
        <a:p>
          <a:endParaRPr lang="en-US"/>
        </a:p>
      </dgm:t>
    </dgm:pt>
    <dgm:pt modelId="{7395D249-8316-4051-AC1E-52E5D3536AD1}" type="pres">
      <dgm:prSet presAssocID="{B8AAF6D0-E871-4E37-972D-E872EA8C8E66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F95290A-90A2-4841-AB75-0D29DE819A1C}" type="pres">
      <dgm:prSet presAssocID="{B8AAF6D0-E871-4E37-972D-E872EA8C8E66}" presName="hierFlow" presStyleCnt="0"/>
      <dgm:spPr/>
    </dgm:pt>
    <dgm:pt modelId="{0B99AF6E-95D4-435C-90B8-A3624DF37ED9}" type="pres">
      <dgm:prSet presAssocID="{B8AAF6D0-E871-4E37-972D-E872EA8C8E66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3036CEF-D42D-440D-BB8B-1DC847509486}" type="pres">
      <dgm:prSet presAssocID="{F41AF6B8-101A-4A07-A1BE-B99FD10354F5}" presName="Name14" presStyleCnt="0"/>
      <dgm:spPr/>
    </dgm:pt>
    <dgm:pt modelId="{3E629660-2516-454D-807F-9C11BDBC4DA9}" type="pres">
      <dgm:prSet presAssocID="{F41AF6B8-101A-4A07-A1BE-B99FD10354F5}" presName="level1Shape" presStyleLbl="node0" presStyleIdx="0" presStyleCnt="1">
        <dgm:presLayoutVars>
          <dgm:chPref val="3"/>
        </dgm:presLayoutVars>
      </dgm:prSet>
      <dgm:spPr/>
    </dgm:pt>
    <dgm:pt modelId="{D1C577B6-E929-4EFA-90B5-0EDC92174463}" type="pres">
      <dgm:prSet presAssocID="{F41AF6B8-101A-4A07-A1BE-B99FD10354F5}" presName="hierChild2" presStyleCnt="0"/>
      <dgm:spPr/>
    </dgm:pt>
    <dgm:pt modelId="{2FA3A27E-8ED0-4BBC-A586-577D5F0131FD}" type="pres">
      <dgm:prSet presAssocID="{229FEB51-85EC-4A5E-987D-16198513AEE7}" presName="Name19" presStyleLbl="parChTrans1D2" presStyleIdx="0" presStyleCnt="3"/>
      <dgm:spPr/>
    </dgm:pt>
    <dgm:pt modelId="{F39C5A05-FBC4-4AD9-A6A8-D983DB5AFE23}" type="pres">
      <dgm:prSet presAssocID="{CD1BF240-1FF1-4C1C-9F23-D9871FE7306F}" presName="Name21" presStyleCnt="0"/>
      <dgm:spPr/>
    </dgm:pt>
    <dgm:pt modelId="{E3095CD0-62E8-4052-B138-29EEF3AA78B3}" type="pres">
      <dgm:prSet presAssocID="{CD1BF240-1FF1-4C1C-9F23-D9871FE7306F}" presName="level2Shape" presStyleLbl="node2" presStyleIdx="0" presStyleCnt="3"/>
      <dgm:spPr/>
    </dgm:pt>
    <dgm:pt modelId="{937B51EF-3A78-4AEB-8957-79B2C8401B2F}" type="pres">
      <dgm:prSet presAssocID="{CD1BF240-1FF1-4C1C-9F23-D9871FE7306F}" presName="hierChild3" presStyleCnt="0"/>
      <dgm:spPr/>
    </dgm:pt>
    <dgm:pt modelId="{DA2C2032-005B-4A53-8A98-A811F9308A37}" type="pres">
      <dgm:prSet presAssocID="{6A7E9AC7-6D61-49A0-A326-72D0ED6B8479}" presName="Name19" presStyleLbl="parChTrans1D3" presStyleIdx="0" presStyleCnt="2"/>
      <dgm:spPr/>
    </dgm:pt>
    <dgm:pt modelId="{3E96A754-22F4-4BC1-A5F6-A90C856F771A}" type="pres">
      <dgm:prSet presAssocID="{7F27F106-7F70-46C6-B41C-59580BF9C248}" presName="Name21" presStyleCnt="0"/>
      <dgm:spPr/>
    </dgm:pt>
    <dgm:pt modelId="{0223B913-7545-416C-B269-F54300B4F910}" type="pres">
      <dgm:prSet presAssocID="{7F27F106-7F70-46C6-B41C-59580BF9C248}" presName="level2Shape" presStyleLbl="node3" presStyleIdx="0" presStyleCnt="2"/>
      <dgm:spPr/>
    </dgm:pt>
    <dgm:pt modelId="{1D0F3356-73AE-4D67-BD8C-B60B3AD4E813}" type="pres">
      <dgm:prSet presAssocID="{7F27F106-7F70-46C6-B41C-59580BF9C248}" presName="hierChild3" presStyleCnt="0"/>
      <dgm:spPr/>
    </dgm:pt>
    <dgm:pt modelId="{024CCE40-828F-47AC-BB80-5D40520F1C91}" type="pres">
      <dgm:prSet presAssocID="{5738B2FD-75A4-492F-96F8-828BECCDAFC1}" presName="Name19" presStyleLbl="parChTrans1D3" presStyleIdx="1" presStyleCnt="2"/>
      <dgm:spPr/>
    </dgm:pt>
    <dgm:pt modelId="{96EC024A-770C-47C5-A61B-28F3B913F1B0}" type="pres">
      <dgm:prSet presAssocID="{E7713F32-AFC3-4846-A8E2-1F71E7D5820D}" presName="Name21" presStyleCnt="0"/>
      <dgm:spPr/>
    </dgm:pt>
    <dgm:pt modelId="{CF80E9B4-F2C5-464F-8153-30E169C9E996}" type="pres">
      <dgm:prSet presAssocID="{E7713F32-AFC3-4846-A8E2-1F71E7D5820D}" presName="level2Shape" presStyleLbl="node3" presStyleIdx="1" presStyleCnt="2"/>
      <dgm:spPr/>
    </dgm:pt>
    <dgm:pt modelId="{8216C22F-9B59-4C8B-9F72-352C2A2FE171}" type="pres">
      <dgm:prSet presAssocID="{E7713F32-AFC3-4846-A8E2-1F71E7D5820D}" presName="hierChild3" presStyleCnt="0"/>
      <dgm:spPr/>
    </dgm:pt>
    <dgm:pt modelId="{2E6C1808-58D7-4D75-BE57-F75B807EB925}" type="pres">
      <dgm:prSet presAssocID="{CF9E5F86-396E-4E5A-BB88-1CD4F1E771AD}" presName="Name19" presStyleLbl="parChTrans1D2" presStyleIdx="1" presStyleCnt="3"/>
      <dgm:spPr/>
    </dgm:pt>
    <dgm:pt modelId="{A8C17887-68BD-4BBE-9F1B-9C6BE6FB21E4}" type="pres">
      <dgm:prSet presAssocID="{E1C1FA24-883F-403F-86AE-19FC703A08F7}" presName="Name21" presStyleCnt="0"/>
      <dgm:spPr/>
    </dgm:pt>
    <dgm:pt modelId="{E428750D-C033-401B-89B0-7509C21492D1}" type="pres">
      <dgm:prSet presAssocID="{E1C1FA24-883F-403F-86AE-19FC703A08F7}" presName="level2Shape" presStyleLbl="node2" presStyleIdx="1" presStyleCnt="3"/>
      <dgm:spPr/>
    </dgm:pt>
    <dgm:pt modelId="{17CC2903-723E-4396-A977-3BAD5B981695}" type="pres">
      <dgm:prSet presAssocID="{E1C1FA24-883F-403F-86AE-19FC703A08F7}" presName="hierChild3" presStyleCnt="0"/>
      <dgm:spPr/>
    </dgm:pt>
    <dgm:pt modelId="{43E363EF-5178-43E4-B5BF-371D1EE3FFCB}" type="pres">
      <dgm:prSet presAssocID="{E766E5AD-DFCB-4863-A70A-FE712049D874}" presName="Name19" presStyleLbl="parChTrans1D2" presStyleIdx="2" presStyleCnt="3"/>
      <dgm:spPr/>
    </dgm:pt>
    <dgm:pt modelId="{706096CB-A897-4356-B826-F7B845EE111B}" type="pres">
      <dgm:prSet presAssocID="{706321B8-0398-46B8-85C5-EE0157390685}" presName="Name21" presStyleCnt="0"/>
      <dgm:spPr/>
    </dgm:pt>
    <dgm:pt modelId="{846AFEAC-3BC9-4D03-AC85-E8362DCAA84E}" type="pres">
      <dgm:prSet presAssocID="{706321B8-0398-46B8-85C5-EE0157390685}" presName="level2Shape" presStyleLbl="node2" presStyleIdx="2" presStyleCnt="3"/>
      <dgm:spPr/>
    </dgm:pt>
    <dgm:pt modelId="{91D4C65F-BB3B-4C9F-ADFD-615629508C03}" type="pres">
      <dgm:prSet presAssocID="{706321B8-0398-46B8-85C5-EE0157390685}" presName="hierChild3" presStyleCnt="0"/>
      <dgm:spPr/>
    </dgm:pt>
    <dgm:pt modelId="{61895A0C-C96B-40F6-A7E7-BAF28BEC09C6}" type="pres">
      <dgm:prSet presAssocID="{B8AAF6D0-E871-4E37-972D-E872EA8C8E66}" presName="bgShapesFlow" presStyleCnt="0"/>
      <dgm:spPr/>
    </dgm:pt>
  </dgm:ptLst>
  <dgm:cxnLst>
    <dgm:cxn modelId="{62FD5512-B19F-4901-BEC8-99CB28DA07B4}" srcId="{B8AAF6D0-E871-4E37-972D-E872EA8C8E66}" destId="{F41AF6B8-101A-4A07-A1BE-B99FD10354F5}" srcOrd="0" destOrd="0" parTransId="{ABDEEA6F-CE2A-4CC2-8C30-5B6FE4E6DD33}" sibTransId="{714DFA6C-4CBD-45E6-AA6E-95FF69DF1DA1}"/>
    <dgm:cxn modelId="{2513781C-F4BC-4E63-BE6A-C33283364BBD}" type="presOf" srcId="{5738B2FD-75A4-492F-96F8-828BECCDAFC1}" destId="{024CCE40-828F-47AC-BB80-5D40520F1C91}" srcOrd="0" destOrd="0" presId="urn:microsoft.com/office/officeart/2005/8/layout/hierarchy6"/>
    <dgm:cxn modelId="{7D97BE33-E62D-46CC-9503-B3938A657A56}" srcId="{CD1BF240-1FF1-4C1C-9F23-D9871FE7306F}" destId="{7F27F106-7F70-46C6-B41C-59580BF9C248}" srcOrd="0" destOrd="0" parTransId="{6A7E9AC7-6D61-49A0-A326-72D0ED6B8479}" sibTransId="{F65E153D-BB39-47FE-8312-1A59DF626488}"/>
    <dgm:cxn modelId="{3EE4563F-DB29-4469-9AAB-4A2A1B9C8565}" type="presOf" srcId="{F41AF6B8-101A-4A07-A1BE-B99FD10354F5}" destId="{3E629660-2516-454D-807F-9C11BDBC4DA9}" srcOrd="0" destOrd="0" presId="urn:microsoft.com/office/officeart/2005/8/layout/hierarchy6"/>
    <dgm:cxn modelId="{9367B444-1CE2-4CDA-BA97-8EB8DEC4057C}" type="presOf" srcId="{6A7E9AC7-6D61-49A0-A326-72D0ED6B8479}" destId="{DA2C2032-005B-4A53-8A98-A811F9308A37}" srcOrd="0" destOrd="0" presId="urn:microsoft.com/office/officeart/2005/8/layout/hierarchy6"/>
    <dgm:cxn modelId="{2F6EC068-64F9-440B-82C6-7CFA3A538256}" type="presOf" srcId="{CD1BF240-1FF1-4C1C-9F23-D9871FE7306F}" destId="{E3095CD0-62E8-4052-B138-29EEF3AA78B3}" srcOrd="0" destOrd="0" presId="urn:microsoft.com/office/officeart/2005/8/layout/hierarchy6"/>
    <dgm:cxn modelId="{FA9AE452-CD3D-4D0B-BEAB-ED13E830974A}" type="presOf" srcId="{CF9E5F86-396E-4E5A-BB88-1CD4F1E771AD}" destId="{2E6C1808-58D7-4D75-BE57-F75B807EB925}" srcOrd="0" destOrd="0" presId="urn:microsoft.com/office/officeart/2005/8/layout/hierarchy6"/>
    <dgm:cxn modelId="{B6BFB056-8DA1-4429-B248-C7E2E1FB8E1E}" type="presOf" srcId="{B8AAF6D0-E871-4E37-972D-E872EA8C8E66}" destId="{7395D249-8316-4051-AC1E-52E5D3536AD1}" srcOrd="0" destOrd="0" presId="urn:microsoft.com/office/officeart/2005/8/layout/hierarchy6"/>
    <dgm:cxn modelId="{AB109F89-D456-4552-A8C2-94F12903B64D}" srcId="{CD1BF240-1FF1-4C1C-9F23-D9871FE7306F}" destId="{E7713F32-AFC3-4846-A8E2-1F71E7D5820D}" srcOrd="1" destOrd="0" parTransId="{5738B2FD-75A4-492F-96F8-828BECCDAFC1}" sibTransId="{FA47A6BF-93B0-4585-9E3C-01B5A6113852}"/>
    <dgm:cxn modelId="{D09C168A-4D93-4B69-BB55-403F61060044}" srcId="{F41AF6B8-101A-4A07-A1BE-B99FD10354F5}" destId="{CD1BF240-1FF1-4C1C-9F23-D9871FE7306F}" srcOrd="0" destOrd="0" parTransId="{229FEB51-85EC-4A5E-987D-16198513AEE7}" sibTransId="{0DC5A52C-4CC9-46FA-A66C-FEEF5F025B03}"/>
    <dgm:cxn modelId="{DFB73091-5AD2-4712-9D50-912D007286CA}" type="presOf" srcId="{E7713F32-AFC3-4846-A8E2-1F71E7D5820D}" destId="{CF80E9B4-F2C5-464F-8153-30E169C9E996}" srcOrd="0" destOrd="0" presId="urn:microsoft.com/office/officeart/2005/8/layout/hierarchy6"/>
    <dgm:cxn modelId="{576FCC96-9686-4D24-81FC-0C650B629A53}" type="presOf" srcId="{229FEB51-85EC-4A5E-987D-16198513AEE7}" destId="{2FA3A27E-8ED0-4BBC-A586-577D5F0131FD}" srcOrd="0" destOrd="0" presId="urn:microsoft.com/office/officeart/2005/8/layout/hierarchy6"/>
    <dgm:cxn modelId="{B2D9499A-BDF4-482C-B88C-119C06065734}" srcId="{F41AF6B8-101A-4A07-A1BE-B99FD10354F5}" destId="{706321B8-0398-46B8-85C5-EE0157390685}" srcOrd="2" destOrd="0" parTransId="{E766E5AD-DFCB-4863-A70A-FE712049D874}" sibTransId="{930BAF1C-3BF7-44B4-A7A8-9FFEDDE3C061}"/>
    <dgm:cxn modelId="{B110A89F-3FF0-4B99-BA54-6A3F2C32D4BF}" type="presOf" srcId="{E766E5AD-DFCB-4863-A70A-FE712049D874}" destId="{43E363EF-5178-43E4-B5BF-371D1EE3FFCB}" srcOrd="0" destOrd="0" presId="urn:microsoft.com/office/officeart/2005/8/layout/hierarchy6"/>
    <dgm:cxn modelId="{8C940FC2-E787-4C3B-A9B1-979361A9630A}" type="presOf" srcId="{7F27F106-7F70-46C6-B41C-59580BF9C248}" destId="{0223B913-7545-416C-B269-F54300B4F910}" srcOrd="0" destOrd="0" presId="urn:microsoft.com/office/officeart/2005/8/layout/hierarchy6"/>
    <dgm:cxn modelId="{770852C7-95E6-442A-90D9-284D4B53D1D8}" type="presOf" srcId="{706321B8-0398-46B8-85C5-EE0157390685}" destId="{846AFEAC-3BC9-4D03-AC85-E8362DCAA84E}" srcOrd="0" destOrd="0" presId="urn:microsoft.com/office/officeart/2005/8/layout/hierarchy6"/>
    <dgm:cxn modelId="{E3BB42EE-BA81-4FF4-84A9-871985FA1661}" srcId="{F41AF6B8-101A-4A07-A1BE-B99FD10354F5}" destId="{E1C1FA24-883F-403F-86AE-19FC703A08F7}" srcOrd="1" destOrd="0" parTransId="{CF9E5F86-396E-4E5A-BB88-1CD4F1E771AD}" sibTransId="{E1AE541E-32A2-4809-8AF2-6FC62A6DE4BA}"/>
    <dgm:cxn modelId="{580EDEFB-CCC2-40D9-A339-0C1EFB5376CC}" type="presOf" srcId="{E1C1FA24-883F-403F-86AE-19FC703A08F7}" destId="{E428750D-C033-401B-89B0-7509C21492D1}" srcOrd="0" destOrd="0" presId="urn:microsoft.com/office/officeart/2005/8/layout/hierarchy6"/>
    <dgm:cxn modelId="{FDD60E75-ED8F-4323-B32A-C4CB965B4454}" type="presParOf" srcId="{7395D249-8316-4051-AC1E-52E5D3536AD1}" destId="{2F95290A-90A2-4841-AB75-0D29DE819A1C}" srcOrd="0" destOrd="0" presId="urn:microsoft.com/office/officeart/2005/8/layout/hierarchy6"/>
    <dgm:cxn modelId="{305DE647-98DF-4C5D-9134-E11A0C933D2A}" type="presParOf" srcId="{2F95290A-90A2-4841-AB75-0D29DE819A1C}" destId="{0B99AF6E-95D4-435C-90B8-A3624DF37ED9}" srcOrd="0" destOrd="0" presId="urn:microsoft.com/office/officeart/2005/8/layout/hierarchy6"/>
    <dgm:cxn modelId="{FADAE6B4-CB60-493A-A66E-0462E263C401}" type="presParOf" srcId="{0B99AF6E-95D4-435C-90B8-A3624DF37ED9}" destId="{F3036CEF-D42D-440D-BB8B-1DC847509486}" srcOrd="0" destOrd="0" presId="urn:microsoft.com/office/officeart/2005/8/layout/hierarchy6"/>
    <dgm:cxn modelId="{96C8B89F-910F-4314-9A11-DFC8B7628D1C}" type="presParOf" srcId="{F3036CEF-D42D-440D-BB8B-1DC847509486}" destId="{3E629660-2516-454D-807F-9C11BDBC4DA9}" srcOrd="0" destOrd="0" presId="urn:microsoft.com/office/officeart/2005/8/layout/hierarchy6"/>
    <dgm:cxn modelId="{804DCFB1-DC98-46A9-B105-30017972F89A}" type="presParOf" srcId="{F3036CEF-D42D-440D-BB8B-1DC847509486}" destId="{D1C577B6-E929-4EFA-90B5-0EDC92174463}" srcOrd="1" destOrd="0" presId="urn:microsoft.com/office/officeart/2005/8/layout/hierarchy6"/>
    <dgm:cxn modelId="{6499AED2-BEF2-4894-AB6B-A76267810922}" type="presParOf" srcId="{D1C577B6-E929-4EFA-90B5-0EDC92174463}" destId="{2FA3A27E-8ED0-4BBC-A586-577D5F0131FD}" srcOrd="0" destOrd="0" presId="urn:microsoft.com/office/officeart/2005/8/layout/hierarchy6"/>
    <dgm:cxn modelId="{8F17A6E9-259B-41B0-906B-E66D30C09CB2}" type="presParOf" srcId="{D1C577B6-E929-4EFA-90B5-0EDC92174463}" destId="{F39C5A05-FBC4-4AD9-A6A8-D983DB5AFE23}" srcOrd="1" destOrd="0" presId="urn:microsoft.com/office/officeart/2005/8/layout/hierarchy6"/>
    <dgm:cxn modelId="{16EA708F-BF09-4C89-AA58-AC2CA5B1B8DB}" type="presParOf" srcId="{F39C5A05-FBC4-4AD9-A6A8-D983DB5AFE23}" destId="{E3095CD0-62E8-4052-B138-29EEF3AA78B3}" srcOrd="0" destOrd="0" presId="urn:microsoft.com/office/officeart/2005/8/layout/hierarchy6"/>
    <dgm:cxn modelId="{13DD9F20-DF66-4D8A-9744-AE3C8D20B90F}" type="presParOf" srcId="{F39C5A05-FBC4-4AD9-A6A8-D983DB5AFE23}" destId="{937B51EF-3A78-4AEB-8957-79B2C8401B2F}" srcOrd="1" destOrd="0" presId="urn:microsoft.com/office/officeart/2005/8/layout/hierarchy6"/>
    <dgm:cxn modelId="{75BFC5D8-A751-4CB0-9DB5-0531314BF95C}" type="presParOf" srcId="{937B51EF-3A78-4AEB-8957-79B2C8401B2F}" destId="{DA2C2032-005B-4A53-8A98-A811F9308A37}" srcOrd="0" destOrd="0" presId="urn:microsoft.com/office/officeart/2005/8/layout/hierarchy6"/>
    <dgm:cxn modelId="{282AC6A2-6B52-4A3D-9279-A62B0AF05445}" type="presParOf" srcId="{937B51EF-3A78-4AEB-8957-79B2C8401B2F}" destId="{3E96A754-22F4-4BC1-A5F6-A90C856F771A}" srcOrd="1" destOrd="0" presId="urn:microsoft.com/office/officeart/2005/8/layout/hierarchy6"/>
    <dgm:cxn modelId="{1FCCEFAF-6B23-4B90-9A44-88AD05BBAA0C}" type="presParOf" srcId="{3E96A754-22F4-4BC1-A5F6-A90C856F771A}" destId="{0223B913-7545-416C-B269-F54300B4F910}" srcOrd="0" destOrd="0" presId="urn:microsoft.com/office/officeart/2005/8/layout/hierarchy6"/>
    <dgm:cxn modelId="{3FF9A74D-3EE7-443B-B96A-DD1D31817577}" type="presParOf" srcId="{3E96A754-22F4-4BC1-A5F6-A90C856F771A}" destId="{1D0F3356-73AE-4D67-BD8C-B60B3AD4E813}" srcOrd="1" destOrd="0" presId="urn:microsoft.com/office/officeart/2005/8/layout/hierarchy6"/>
    <dgm:cxn modelId="{CC01CAC6-87C6-4EB0-97B4-BDD145A4A46A}" type="presParOf" srcId="{937B51EF-3A78-4AEB-8957-79B2C8401B2F}" destId="{024CCE40-828F-47AC-BB80-5D40520F1C91}" srcOrd="2" destOrd="0" presId="urn:microsoft.com/office/officeart/2005/8/layout/hierarchy6"/>
    <dgm:cxn modelId="{7D6D36FA-DD0F-403E-8467-BD70711F7209}" type="presParOf" srcId="{937B51EF-3A78-4AEB-8957-79B2C8401B2F}" destId="{96EC024A-770C-47C5-A61B-28F3B913F1B0}" srcOrd="3" destOrd="0" presId="urn:microsoft.com/office/officeart/2005/8/layout/hierarchy6"/>
    <dgm:cxn modelId="{19CDB4BD-6B71-4647-A057-8C4CFE5E35D9}" type="presParOf" srcId="{96EC024A-770C-47C5-A61B-28F3B913F1B0}" destId="{CF80E9B4-F2C5-464F-8153-30E169C9E996}" srcOrd="0" destOrd="0" presId="urn:microsoft.com/office/officeart/2005/8/layout/hierarchy6"/>
    <dgm:cxn modelId="{500F29F2-A9BD-425F-B2AB-7C092EBC57F4}" type="presParOf" srcId="{96EC024A-770C-47C5-A61B-28F3B913F1B0}" destId="{8216C22F-9B59-4C8B-9F72-352C2A2FE171}" srcOrd="1" destOrd="0" presId="urn:microsoft.com/office/officeart/2005/8/layout/hierarchy6"/>
    <dgm:cxn modelId="{1D94D87D-959A-4967-90F2-BB98B288444D}" type="presParOf" srcId="{D1C577B6-E929-4EFA-90B5-0EDC92174463}" destId="{2E6C1808-58D7-4D75-BE57-F75B807EB925}" srcOrd="2" destOrd="0" presId="urn:microsoft.com/office/officeart/2005/8/layout/hierarchy6"/>
    <dgm:cxn modelId="{CDD824AD-1BF5-4D63-A083-B58F9ADC5605}" type="presParOf" srcId="{D1C577B6-E929-4EFA-90B5-0EDC92174463}" destId="{A8C17887-68BD-4BBE-9F1B-9C6BE6FB21E4}" srcOrd="3" destOrd="0" presId="urn:microsoft.com/office/officeart/2005/8/layout/hierarchy6"/>
    <dgm:cxn modelId="{F706A329-E157-400E-BEA2-1A8293D4BAE3}" type="presParOf" srcId="{A8C17887-68BD-4BBE-9F1B-9C6BE6FB21E4}" destId="{E428750D-C033-401B-89B0-7509C21492D1}" srcOrd="0" destOrd="0" presId="urn:microsoft.com/office/officeart/2005/8/layout/hierarchy6"/>
    <dgm:cxn modelId="{90048ADD-CDB7-4664-813E-EC4884B9BAE9}" type="presParOf" srcId="{A8C17887-68BD-4BBE-9F1B-9C6BE6FB21E4}" destId="{17CC2903-723E-4396-A977-3BAD5B981695}" srcOrd="1" destOrd="0" presId="urn:microsoft.com/office/officeart/2005/8/layout/hierarchy6"/>
    <dgm:cxn modelId="{7BADA706-AECA-4F60-863B-EC60DC6035C7}" type="presParOf" srcId="{D1C577B6-E929-4EFA-90B5-0EDC92174463}" destId="{43E363EF-5178-43E4-B5BF-371D1EE3FFCB}" srcOrd="4" destOrd="0" presId="urn:microsoft.com/office/officeart/2005/8/layout/hierarchy6"/>
    <dgm:cxn modelId="{31214770-0B13-411C-ABBE-C35F154C874E}" type="presParOf" srcId="{D1C577B6-E929-4EFA-90B5-0EDC92174463}" destId="{706096CB-A897-4356-B826-F7B845EE111B}" srcOrd="5" destOrd="0" presId="urn:microsoft.com/office/officeart/2005/8/layout/hierarchy6"/>
    <dgm:cxn modelId="{B8C28D4A-3907-4D43-97D7-B6D13B9573AA}" type="presParOf" srcId="{706096CB-A897-4356-B826-F7B845EE111B}" destId="{846AFEAC-3BC9-4D03-AC85-E8362DCAA84E}" srcOrd="0" destOrd="0" presId="urn:microsoft.com/office/officeart/2005/8/layout/hierarchy6"/>
    <dgm:cxn modelId="{7139CEF8-002C-437F-9175-19B72FCBC897}" type="presParOf" srcId="{706096CB-A897-4356-B826-F7B845EE111B}" destId="{91D4C65F-BB3B-4C9F-ADFD-615629508C03}" srcOrd="1" destOrd="0" presId="urn:microsoft.com/office/officeart/2005/8/layout/hierarchy6"/>
    <dgm:cxn modelId="{84FAFAF1-3537-4A0E-B7F3-A662916F6119}" type="presParOf" srcId="{7395D249-8316-4051-AC1E-52E5D3536AD1}" destId="{61895A0C-C96B-40F6-A7E7-BAF28BEC09C6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architecture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/>
            <a:t>Database module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09BA98DE-DEC2-4D0D-8490-D3297BBF0088}">
      <dgm:prSet phldrT="[Text]"/>
      <dgm:spPr/>
      <dgm:t>
        <a:bodyPr/>
        <a:lstStyle/>
        <a:p>
          <a:r>
            <a:rPr lang="en-US" noProof="0"/>
            <a:t>WebAPI module</a:t>
          </a:r>
        </a:p>
      </dgm:t>
    </dgm:pt>
    <dgm:pt modelId="{8E89657A-9899-4663-8EBD-CE951A955DD5}" type="parTrans" cxnId="{B74A69C1-DB0A-4823-ABB8-FD9F97D1DF87}">
      <dgm:prSet/>
      <dgm:spPr/>
      <dgm:t>
        <a:bodyPr/>
        <a:lstStyle/>
        <a:p>
          <a:endParaRPr lang="en-US"/>
        </a:p>
      </dgm:t>
    </dgm:pt>
    <dgm:pt modelId="{D9604DA3-0B95-413D-AA9C-D75798C0FF52}" type="sibTrans" cxnId="{B74A69C1-DB0A-4823-ABB8-FD9F97D1DF87}">
      <dgm:prSet/>
      <dgm:spPr/>
      <dgm:t>
        <a:bodyPr/>
        <a:lstStyle/>
        <a:p>
          <a:endParaRPr lang="en-US"/>
        </a:p>
      </dgm:t>
    </dgm:pt>
    <dgm:pt modelId="{A7376EC0-5FEA-48A4-B284-B453C867CA4F}">
      <dgm:prSet phldrT="[Text]"/>
      <dgm:spPr>
        <a:ln w="28575">
          <a:noFill/>
        </a:ln>
      </dgm:spPr>
      <dgm:t>
        <a:bodyPr/>
        <a:lstStyle/>
        <a:p>
          <a:r>
            <a:rPr lang="en-US" noProof="0" dirty="0"/>
            <a:t>UI (Selenium) module</a:t>
          </a:r>
        </a:p>
      </dgm:t>
    </dgm:pt>
    <dgm:pt modelId="{D8387D70-E1F9-4B42-8EE4-B3BED889F64B}" type="parTrans" cxnId="{AC431E10-8495-40FC-AE68-1DE0241390B0}">
      <dgm:prSet/>
      <dgm:spPr/>
      <dgm:t>
        <a:bodyPr/>
        <a:lstStyle/>
        <a:p>
          <a:endParaRPr lang="en-US"/>
        </a:p>
      </dgm:t>
    </dgm:pt>
    <dgm:pt modelId="{620F1AE9-67A6-43E4-8D4E-A7556D36F8F8}" type="sibTrans" cxnId="{AC431E10-8495-40FC-AE68-1DE0241390B0}">
      <dgm:prSet/>
      <dgm:spPr/>
      <dgm:t>
        <a:bodyPr/>
        <a:lstStyle/>
        <a:p>
          <a:endParaRPr lang="en-US"/>
        </a:p>
      </dgm:t>
    </dgm:pt>
    <dgm:pt modelId="{2292288B-8B39-49F2-9CA8-9AFCD7CDA712}">
      <dgm:prSet phldrT="[Text]"/>
      <dgm:spPr>
        <a:ln w="28575">
          <a:solidFill>
            <a:schemeClr val="tx1"/>
          </a:solidFill>
        </a:ln>
      </dgm:spPr>
      <dgm:t>
        <a:bodyPr/>
        <a:lstStyle/>
        <a:p>
          <a:r>
            <a:rPr lang="en-US" noProof="0"/>
            <a:t>Selenium Grid</a:t>
          </a:r>
        </a:p>
      </dgm:t>
    </dgm:pt>
    <dgm:pt modelId="{01D0AB0F-E732-41F9-9D62-3B8C4434DC42}" type="parTrans" cxnId="{01735BA0-2B36-41EC-BFC0-0CCFA7ACD053}">
      <dgm:prSet/>
      <dgm:spPr/>
      <dgm:t>
        <a:bodyPr/>
        <a:lstStyle/>
        <a:p>
          <a:endParaRPr lang="en-US"/>
        </a:p>
      </dgm:t>
    </dgm:pt>
    <dgm:pt modelId="{572C2FA6-B61B-4B7E-9BE2-BE1757364927}" type="sibTrans" cxnId="{01735BA0-2B36-41EC-BFC0-0CCFA7ACD053}">
      <dgm:prSet/>
      <dgm:spPr/>
      <dgm:t>
        <a:bodyPr/>
        <a:lstStyle/>
        <a:p>
          <a:endParaRPr lang="en-US"/>
        </a:p>
      </dgm:t>
    </dgm:pt>
    <dgm:pt modelId="{589892E1-7E9A-4ED2-9A00-ECF59CD9E4E2}">
      <dgm:prSet phldrT="[Text]"/>
      <dgm:spPr/>
      <dgm:t>
        <a:bodyPr/>
        <a:lstStyle/>
        <a:p>
          <a:r>
            <a:rPr lang="en-US" noProof="0" dirty="0"/>
            <a:t>Mobile (</a:t>
          </a:r>
          <a:r>
            <a:rPr lang="en-US" noProof="0" dirty="0" err="1"/>
            <a:t>Appium</a:t>
          </a:r>
          <a:r>
            <a:rPr lang="en-US" noProof="0" dirty="0"/>
            <a:t>) app</a:t>
          </a:r>
          <a:r>
            <a:rPr lang="pl-PL" noProof="0" dirty="0"/>
            <a:t> *</a:t>
          </a:r>
          <a:endParaRPr lang="en-US" noProof="0" dirty="0"/>
        </a:p>
      </dgm:t>
    </dgm:pt>
    <dgm:pt modelId="{6298D63F-CF36-4C9A-B1AF-B6EC065B8542}" type="parTrans" cxnId="{D68E50A4-4DE3-4F5D-92C6-F68E47329EAA}">
      <dgm:prSet/>
      <dgm:spPr/>
      <dgm:t>
        <a:bodyPr/>
        <a:lstStyle/>
        <a:p>
          <a:endParaRPr lang="en-US"/>
        </a:p>
      </dgm:t>
    </dgm:pt>
    <dgm:pt modelId="{6E27F27E-66F1-4C1C-AB5B-DE1A342F5B80}" type="sibTrans" cxnId="{D68E50A4-4DE3-4F5D-92C6-F68E47329EAA}">
      <dgm:prSet/>
      <dgm:spPr/>
      <dgm:t>
        <a:bodyPr/>
        <a:lstStyle/>
        <a:p>
          <a:endParaRPr lang="en-US"/>
        </a:p>
      </dgm:t>
    </dgm:pt>
    <dgm:pt modelId="{6B9937D0-C50E-45C2-B4B1-863E69FCB5B1}">
      <dgm:prSet phldrT="[Text]"/>
      <dgm:spPr/>
      <dgm:t>
        <a:bodyPr/>
        <a:lstStyle/>
        <a:p>
          <a:r>
            <a:rPr lang="en-US" noProof="0" dirty="0"/>
            <a:t>Mobile </a:t>
          </a:r>
          <a:br>
            <a:rPr lang="pl-PL" noProof="0" dirty="0"/>
          </a:br>
          <a:r>
            <a:rPr lang="en-US" noProof="0" dirty="0"/>
            <a:t>Grid</a:t>
          </a:r>
          <a:r>
            <a:rPr lang="pl-PL" noProof="0" dirty="0"/>
            <a:t> *</a:t>
          </a:r>
          <a:endParaRPr lang="en-US" noProof="0" dirty="0"/>
        </a:p>
      </dgm:t>
    </dgm:pt>
    <dgm:pt modelId="{AEF92B5E-DA15-46F7-BACF-71FF8F3D14F0}" type="parTrans" cxnId="{8F0BC77A-97BE-4977-BDA7-D96570690F34}">
      <dgm:prSet/>
      <dgm:spPr/>
      <dgm:t>
        <a:bodyPr/>
        <a:lstStyle/>
        <a:p>
          <a:endParaRPr lang="en-US"/>
        </a:p>
      </dgm:t>
    </dgm:pt>
    <dgm:pt modelId="{981C6366-F035-4302-9D7B-6125B4FAB462}" type="sibTrans" cxnId="{8F0BC77A-97BE-4977-BDA7-D96570690F34}">
      <dgm:prSet/>
      <dgm:spPr/>
      <dgm:t>
        <a:bodyPr/>
        <a:lstStyle/>
        <a:p>
          <a:endParaRPr lang="en-US"/>
        </a:p>
      </dgm:t>
    </dgm:pt>
    <dgm:pt modelId="{16B3806B-317F-41B0-ABDF-7267C80EC3B2}">
      <dgm:prSet phldrT="[Text]"/>
      <dgm:spPr/>
      <dgm:t>
        <a:bodyPr/>
        <a:lstStyle/>
        <a:p>
          <a:r>
            <a:rPr lang="en-US" noProof="0" dirty="0"/>
            <a:t>Standalone APP</a:t>
          </a:r>
          <a:r>
            <a:rPr lang="pl-PL" noProof="0" dirty="0"/>
            <a:t> *</a:t>
          </a:r>
          <a:endParaRPr lang="en-US" noProof="0" dirty="0"/>
        </a:p>
      </dgm:t>
    </dgm:pt>
    <dgm:pt modelId="{97DC8A9B-CFD6-40D1-A1ED-398BABE06067}" type="parTrans" cxnId="{5A200011-DE1C-4E4A-8F4A-4D5AD08EE3A9}">
      <dgm:prSet/>
      <dgm:spPr/>
      <dgm:t>
        <a:bodyPr/>
        <a:lstStyle/>
        <a:p>
          <a:endParaRPr lang="en-US"/>
        </a:p>
      </dgm:t>
    </dgm:pt>
    <dgm:pt modelId="{C1409865-ED18-41BE-9B28-662D81AEEE4F}" type="sibTrans" cxnId="{5A200011-DE1C-4E4A-8F4A-4D5AD08EE3A9}">
      <dgm:prSet/>
      <dgm:spPr/>
      <dgm:t>
        <a:bodyPr/>
        <a:lstStyle/>
        <a:p>
          <a:endParaRPr lang="en-US"/>
        </a:p>
      </dgm:t>
    </dgm:pt>
    <dgm:pt modelId="{8E346F4D-76A2-462D-9B44-3650FB2B405C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/>
            <a:t>Security module</a:t>
          </a:r>
        </a:p>
      </dgm:t>
    </dgm:pt>
    <dgm:pt modelId="{3F230114-3CC0-45DF-9870-044520BC28C8}" type="parTrans" cxnId="{1D76C90C-838C-4330-B04F-05BE873D410F}">
      <dgm:prSet/>
      <dgm:spPr/>
      <dgm:t>
        <a:bodyPr/>
        <a:lstStyle/>
        <a:p>
          <a:endParaRPr lang="en-US"/>
        </a:p>
      </dgm:t>
    </dgm:pt>
    <dgm:pt modelId="{0F905974-FF65-435B-B2DD-FBC8F1A908F0}" type="sibTrans" cxnId="{1D76C90C-838C-4330-B04F-05BE873D410F}">
      <dgm:prSet/>
      <dgm:spPr/>
      <dgm:t>
        <a:bodyPr/>
        <a:lstStyle/>
        <a:p>
          <a:endParaRPr lang="en-US"/>
        </a:p>
      </dgm:t>
    </dgm:pt>
    <dgm:pt modelId="{6733E3A7-9EE4-4EFF-B65C-61E0B126E302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DevOps module</a:t>
          </a:r>
        </a:p>
      </dgm:t>
    </dgm:pt>
    <dgm:pt modelId="{3D98FF0D-B7EB-42FA-8A0C-F97A740C5CC2}" type="parTrans" cxnId="{C4B3FED4-3336-4139-911B-D057D16A48F5}">
      <dgm:prSet/>
      <dgm:spPr/>
      <dgm:t>
        <a:bodyPr/>
        <a:lstStyle/>
        <a:p>
          <a:endParaRPr lang="en-US"/>
        </a:p>
      </dgm:t>
    </dgm:pt>
    <dgm:pt modelId="{C64997DC-0FAE-46D2-807A-F0C151BFA135}" type="sibTrans" cxnId="{C4B3FED4-3336-4139-911B-D057D16A48F5}">
      <dgm:prSet/>
      <dgm:spPr/>
      <dgm:t>
        <a:bodyPr/>
        <a:lstStyle/>
        <a:p>
          <a:endParaRPr lang="en-US"/>
        </a:p>
      </dgm:t>
    </dgm:pt>
    <dgm:pt modelId="{9A65ADEB-F1B5-411F-B9AC-B64E8E60B070}">
      <dgm:prSet phldrT="[Text]"/>
      <dgm:spPr>
        <a:solidFill>
          <a:srgbClr val="0085B3"/>
        </a:solidFill>
        <a:ln w="28575">
          <a:noFill/>
        </a:ln>
      </dgm:spPr>
      <dgm:t>
        <a:bodyPr/>
        <a:lstStyle/>
        <a:p>
          <a:r>
            <a:rPr lang="en-US" noProof="0" dirty="0"/>
            <a:t>Test core module</a:t>
          </a:r>
        </a:p>
      </dgm:t>
    </dgm:pt>
    <dgm:pt modelId="{124EE3FC-3289-4868-83FD-BB361276B47E}" type="parTrans" cxnId="{6933AB0D-D526-4683-90E6-DBCAD5B13CA0}">
      <dgm:prSet/>
      <dgm:spPr/>
      <dgm:t>
        <a:bodyPr/>
        <a:lstStyle/>
        <a:p>
          <a:endParaRPr lang="en-US"/>
        </a:p>
      </dgm:t>
    </dgm:pt>
    <dgm:pt modelId="{80E8A97E-4D14-4268-B043-8933A19483DA}" type="sibTrans" cxnId="{6933AB0D-D526-4683-90E6-DBCAD5B13CA0}">
      <dgm:prSet/>
      <dgm:spPr/>
      <dgm:t>
        <a:bodyPr/>
        <a:lstStyle/>
        <a:p>
          <a:endParaRPr lang="en-US"/>
        </a:p>
      </dgm:t>
    </dgm:pt>
    <dgm:pt modelId="{2B2119DE-9C5F-42BD-90CA-B1F7EF735AF4}" type="pres">
      <dgm:prSet presAssocID="{B9C32B05-62EA-407A-B21C-2310C794570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B9E2D6A-8969-4EEC-85C2-615B86E0B196}" type="pres">
      <dgm:prSet presAssocID="{42D71409-67F9-455C-8C6D-716D284AAA6B}" presName="vertOne" presStyleCnt="0"/>
      <dgm:spPr/>
    </dgm:pt>
    <dgm:pt modelId="{034D588B-2C5E-413E-8FB3-A45A598FE77E}" type="pres">
      <dgm:prSet presAssocID="{42D71409-67F9-455C-8C6D-716D284AAA6B}" presName="txOne" presStyleLbl="node0" presStyleIdx="0" presStyleCnt="3">
        <dgm:presLayoutVars>
          <dgm:chPref val="3"/>
        </dgm:presLayoutVars>
      </dgm:prSet>
      <dgm:spPr/>
    </dgm:pt>
    <dgm:pt modelId="{155C8750-CD3F-4EED-8869-852B83F3E2B4}" type="pres">
      <dgm:prSet presAssocID="{42D71409-67F9-455C-8C6D-716D284AAA6B}" presName="parTransOne" presStyleCnt="0"/>
      <dgm:spPr/>
    </dgm:pt>
    <dgm:pt modelId="{782F8E29-E0AF-4190-B2CF-FA75DA3E0DD3}" type="pres">
      <dgm:prSet presAssocID="{42D71409-67F9-455C-8C6D-716D284AAA6B}" presName="horzOne" presStyleCnt="0"/>
      <dgm:spPr/>
    </dgm:pt>
    <dgm:pt modelId="{DA72A51A-2648-42DA-A6F5-1368068F74F5}" type="pres">
      <dgm:prSet presAssocID="{8E346F4D-76A2-462D-9B44-3650FB2B405C}" presName="vertTwo" presStyleCnt="0"/>
      <dgm:spPr/>
    </dgm:pt>
    <dgm:pt modelId="{CDB456C7-FEB2-4189-8DB4-859E0B913BE7}" type="pres">
      <dgm:prSet presAssocID="{8E346F4D-76A2-462D-9B44-3650FB2B405C}" presName="txTwo" presStyleLbl="node2" presStyleIdx="0" presStyleCnt="2" custScaleY="205355" custLinFactX="225310" custLinFactNeighborX="300000" custLinFactNeighborY="2804">
        <dgm:presLayoutVars>
          <dgm:chPref val="3"/>
        </dgm:presLayoutVars>
      </dgm:prSet>
      <dgm:spPr/>
    </dgm:pt>
    <dgm:pt modelId="{665A94F3-AC2E-440A-90D8-6366FA2C472B}" type="pres">
      <dgm:prSet presAssocID="{8E346F4D-76A2-462D-9B44-3650FB2B405C}" presName="horzTwo" presStyleCnt="0"/>
      <dgm:spPr/>
    </dgm:pt>
    <dgm:pt modelId="{E8E6822D-8E60-479F-9744-0822855A4470}" type="pres">
      <dgm:prSet presAssocID="{0F905974-FF65-435B-B2DD-FBC8F1A908F0}" presName="sibSpaceTwo" presStyleCnt="0"/>
      <dgm:spPr/>
    </dgm:pt>
    <dgm:pt modelId="{1DEC18CE-0974-4E7A-AE22-5B53857D08A5}" type="pres">
      <dgm:prSet presAssocID="{09BA98DE-DEC2-4D0D-8490-D3297BBF0088}" presName="vertTwo" presStyleCnt="0"/>
      <dgm:spPr/>
    </dgm:pt>
    <dgm:pt modelId="{79946D67-CF20-4533-873C-9747C402A031}" type="pres">
      <dgm:prSet presAssocID="{09BA98DE-DEC2-4D0D-8490-D3297BBF0088}" presName="txTwo" presStyleLbl="node2" presStyleIdx="1" presStyleCnt="2" custLinFactNeighborX="-21053" custLinFactNeighborY="48072">
        <dgm:presLayoutVars>
          <dgm:chPref val="3"/>
        </dgm:presLayoutVars>
      </dgm:prSet>
      <dgm:spPr/>
    </dgm:pt>
    <dgm:pt modelId="{11A9DFF6-0FBF-42E2-AC9E-E9078967B9F6}" type="pres">
      <dgm:prSet presAssocID="{09BA98DE-DEC2-4D0D-8490-D3297BBF0088}" presName="parTransTwo" presStyleCnt="0"/>
      <dgm:spPr/>
    </dgm:pt>
    <dgm:pt modelId="{B536D2A5-09A8-40A9-B9B2-95A40A490E97}" type="pres">
      <dgm:prSet presAssocID="{09BA98DE-DEC2-4D0D-8490-D3297BBF0088}" presName="horzTwo" presStyleCnt="0"/>
      <dgm:spPr/>
    </dgm:pt>
    <dgm:pt modelId="{CC689BD4-6667-4A02-BE0B-05FBA1E9DFEE}" type="pres">
      <dgm:prSet presAssocID="{A7376EC0-5FEA-48A4-B284-B453C867CA4F}" presName="vertThree" presStyleCnt="0"/>
      <dgm:spPr/>
    </dgm:pt>
    <dgm:pt modelId="{7951CDCD-4F97-4CCA-8C56-4992B72B07BB}" type="pres">
      <dgm:prSet presAssocID="{A7376EC0-5FEA-48A4-B284-B453C867CA4F}" presName="txThree" presStyleLbl="node3" presStyleIdx="0" presStyleCnt="5" custLinFactX="-9429" custLinFactNeighborX="-100000" custLinFactNeighborY="8130">
        <dgm:presLayoutVars>
          <dgm:chPref val="3"/>
        </dgm:presLayoutVars>
      </dgm:prSet>
      <dgm:spPr/>
    </dgm:pt>
    <dgm:pt modelId="{5AA5A2CD-9B6E-4706-AD2B-726846A26241}" type="pres">
      <dgm:prSet presAssocID="{A7376EC0-5FEA-48A4-B284-B453C867CA4F}" presName="horzThree" presStyleCnt="0"/>
      <dgm:spPr/>
    </dgm:pt>
    <dgm:pt modelId="{3774BBD5-FDE4-40E1-B05B-37017133E0FA}" type="pres">
      <dgm:prSet presAssocID="{620F1AE9-67A6-43E4-8D4E-A7556D36F8F8}" presName="sibSpaceThree" presStyleCnt="0"/>
      <dgm:spPr/>
    </dgm:pt>
    <dgm:pt modelId="{41559B25-8C6A-464D-BF22-BE3C9F736111}" type="pres">
      <dgm:prSet presAssocID="{2292288B-8B39-49F2-9CA8-9AFCD7CDA712}" presName="vertThree" presStyleCnt="0"/>
      <dgm:spPr/>
    </dgm:pt>
    <dgm:pt modelId="{16415C91-F210-4416-A0F4-1AA0347D5471}" type="pres">
      <dgm:prSet presAssocID="{2292288B-8B39-49F2-9CA8-9AFCD7CDA712}" presName="txThree" presStyleLbl="node3" presStyleIdx="1" presStyleCnt="5" custLinFactX="-9460" custLinFactNeighborX="-100000" custLinFactNeighborY="8130">
        <dgm:presLayoutVars>
          <dgm:chPref val="3"/>
        </dgm:presLayoutVars>
      </dgm:prSet>
      <dgm:spPr/>
    </dgm:pt>
    <dgm:pt modelId="{2A95AAC2-1202-4AC2-BACF-0DA698DF7F4C}" type="pres">
      <dgm:prSet presAssocID="{2292288B-8B39-49F2-9CA8-9AFCD7CDA712}" presName="horzThree" presStyleCnt="0"/>
      <dgm:spPr/>
    </dgm:pt>
    <dgm:pt modelId="{8FF487CA-1EFE-4D30-AE1A-DA6180CF2B9F}" type="pres">
      <dgm:prSet presAssocID="{572C2FA6-B61B-4B7E-9BE2-BE1757364927}" presName="sibSpaceThree" presStyleCnt="0"/>
      <dgm:spPr/>
    </dgm:pt>
    <dgm:pt modelId="{6F748793-9F52-45C0-BB7D-F70EE9ADCD11}" type="pres">
      <dgm:prSet presAssocID="{589892E1-7E9A-4ED2-9A00-ECF59CD9E4E2}" presName="vertThree" presStyleCnt="0"/>
      <dgm:spPr/>
    </dgm:pt>
    <dgm:pt modelId="{D8A6C93A-917D-4567-B16D-E30EEE8A93BD}" type="pres">
      <dgm:prSet presAssocID="{589892E1-7E9A-4ED2-9A00-ECF59CD9E4E2}" presName="txThree" presStyleLbl="node3" presStyleIdx="2" presStyleCnt="5" custLinFactX="-9460" custLinFactNeighborX="-100000" custLinFactNeighborY="8130">
        <dgm:presLayoutVars>
          <dgm:chPref val="3"/>
        </dgm:presLayoutVars>
      </dgm:prSet>
      <dgm:spPr/>
    </dgm:pt>
    <dgm:pt modelId="{EF0B39D7-3444-41FC-AA5E-204BA04CE20B}" type="pres">
      <dgm:prSet presAssocID="{589892E1-7E9A-4ED2-9A00-ECF59CD9E4E2}" presName="horzThree" presStyleCnt="0"/>
      <dgm:spPr/>
    </dgm:pt>
    <dgm:pt modelId="{0C74B5B8-1BB4-4CC1-B901-4409ED4551A1}" type="pres">
      <dgm:prSet presAssocID="{6E27F27E-66F1-4C1C-AB5B-DE1A342F5B80}" presName="sibSpaceThree" presStyleCnt="0"/>
      <dgm:spPr/>
    </dgm:pt>
    <dgm:pt modelId="{04CFD224-47B9-4740-85C5-27869E975EBD}" type="pres">
      <dgm:prSet presAssocID="{6B9937D0-C50E-45C2-B4B1-863E69FCB5B1}" presName="vertThree" presStyleCnt="0"/>
      <dgm:spPr/>
    </dgm:pt>
    <dgm:pt modelId="{10845D90-6534-40EB-8279-CF7912BF2E6A}" type="pres">
      <dgm:prSet presAssocID="{6B9937D0-C50E-45C2-B4B1-863E69FCB5B1}" presName="txThree" presStyleLbl="node3" presStyleIdx="3" presStyleCnt="5" custLinFactX="-9460" custLinFactNeighborX="-100000" custLinFactNeighborY="8130">
        <dgm:presLayoutVars>
          <dgm:chPref val="3"/>
        </dgm:presLayoutVars>
      </dgm:prSet>
      <dgm:spPr/>
    </dgm:pt>
    <dgm:pt modelId="{54AA577C-9EA8-4070-9234-7DE01FE1F281}" type="pres">
      <dgm:prSet presAssocID="{6B9937D0-C50E-45C2-B4B1-863E69FCB5B1}" presName="horzThree" presStyleCnt="0"/>
      <dgm:spPr/>
    </dgm:pt>
    <dgm:pt modelId="{439A1615-4820-49EA-B3CF-83905D4EF337}" type="pres">
      <dgm:prSet presAssocID="{981C6366-F035-4302-9D7B-6125B4FAB462}" presName="sibSpaceThree" presStyleCnt="0"/>
      <dgm:spPr/>
    </dgm:pt>
    <dgm:pt modelId="{46B34DDF-9C3B-405B-9CAC-1D39BDBC2EEE}" type="pres">
      <dgm:prSet presAssocID="{16B3806B-317F-41B0-ABDF-7267C80EC3B2}" presName="vertThree" presStyleCnt="0"/>
      <dgm:spPr/>
    </dgm:pt>
    <dgm:pt modelId="{9A46057F-5CDA-4B57-BF6D-897D216AF86F}" type="pres">
      <dgm:prSet presAssocID="{16B3806B-317F-41B0-ABDF-7267C80EC3B2}" presName="txThree" presStyleLbl="node3" presStyleIdx="4" presStyleCnt="5" custLinFactX="-9460" custLinFactNeighborX="-100000" custLinFactNeighborY="8130">
        <dgm:presLayoutVars>
          <dgm:chPref val="3"/>
        </dgm:presLayoutVars>
      </dgm:prSet>
      <dgm:spPr/>
    </dgm:pt>
    <dgm:pt modelId="{DBC56214-4432-4434-8518-707CDC63F5BF}" type="pres">
      <dgm:prSet presAssocID="{16B3806B-317F-41B0-ABDF-7267C80EC3B2}" presName="horzThree" presStyleCnt="0"/>
      <dgm:spPr/>
    </dgm:pt>
    <dgm:pt modelId="{38DD3712-FE5D-4944-89FA-AD709564BD3A}" type="pres">
      <dgm:prSet presAssocID="{478B7D3C-9FB4-4BC6-90AC-49960560DECD}" presName="sibSpaceOne" presStyleCnt="0"/>
      <dgm:spPr/>
    </dgm:pt>
    <dgm:pt modelId="{1C4B8FF2-A5B4-46BA-942A-8A19BEE69F70}" type="pres">
      <dgm:prSet presAssocID="{6733E3A7-9EE4-4EFF-B65C-61E0B126E302}" presName="vertOne" presStyleCnt="0"/>
      <dgm:spPr/>
    </dgm:pt>
    <dgm:pt modelId="{1F321622-6935-42D4-AE83-D556256DD586}" type="pres">
      <dgm:prSet presAssocID="{6733E3A7-9EE4-4EFF-B65C-61E0B126E302}" presName="txOne" presStyleLbl="node0" presStyleIdx="1" presStyleCnt="3" custScaleY="309236" custLinFactNeighborX="-7251">
        <dgm:presLayoutVars>
          <dgm:chPref val="3"/>
        </dgm:presLayoutVars>
      </dgm:prSet>
      <dgm:spPr/>
    </dgm:pt>
    <dgm:pt modelId="{824137B6-FDCD-4837-BBD2-6FDD09327885}" type="pres">
      <dgm:prSet presAssocID="{6733E3A7-9EE4-4EFF-B65C-61E0B126E302}" presName="horzOne" presStyleCnt="0"/>
      <dgm:spPr/>
    </dgm:pt>
    <dgm:pt modelId="{ECE19E2B-8C42-4059-9124-AF3EDDEFF355}" type="pres">
      <dgm:prSet presAssocID="{C64997DC-0FAE-46D2-807A-F0C151BFA135}" presName="sibSpaceOne" presStyleCnt="0"/>
      <dgm:spPr/>
    </dgm:pt>
    <dgm:pt modelId="{915571E0-40F3-4E75-A71C-E935FB4D94B6}" type="pres">
      <dgm:prSet presAssocID="{9A65ADEB-F1B5-411F-B9AC-B64E8E60B070}" presName="vertOne" presStyleCnt="0"/>
      <dgm:spPr/>
    </dgm:pt>
    <dgm:pt modelId="{AF9421C1-0977-4165-AE01-1E0941FF1DC2}" type="pres">
      <dgm:prSet presAssocID="{9A65ADEB-F1B5-411F-B9AC-B64E8E60B070}" presName="txOne" presStyleLbl="node0" presStyleIdx="2" presStyleCnt="3" custScaleY="309153" custLinFactNeighborX="-13910" custLinFactNeighborY="-96">
        <dgm:presLayoutVars>
          <dgm:chPref val="3"/>
        </dgm:presLayoutVars>
      </dgm:prSet>
      <dgm:spPr/>
    </dgm:pt>
    <dgm:pt modelId="{870B6F6E-AE96-4262-9B4A-86C432C82D5E}" type="pres">
      <dgm:prSet presAssocID="{9A65ADEB-F1B5-411F-B9AC-B64E8E60B070}" presName="horzOne" presStyleCnt="0"/>
      <dgm:spPr/>
    </dgm:pt>
  </dgm:ptLst>
  <dgm:cxnLst>
    <dgm:cxn modelId="{1D76C90C-838C-4330-B04F-05BE873D410F}" srcId="{42D71409-67F9-455C-8C6D-716D284AAA6B}" destId="{8E346F4D-76A2-462D-9B44-3650FB2B405C}" srcOrd="0" destOrd="0" parTransId="{3F230114-3CC0-45DF-9870-044520BC28C8}" sibTransId="{0F905974-FF65-435B-B2DD-FBC8F1A908F0}"/>
    <dgm:cxn modelId="{6933AB0D-D526-4683-90E6-DBCAD5B13CA0}" srcId="{B9C32B05-62EA-407A-B21C-2310C7945705}" destId="{9A65ADEB-F1B5-411F-B9AC-B64E8E60B070}" srcOrd="2" destOrd="0" parTransId="{124EE3FC-3289-4868-83FD-BB361276B47E}" sibTransId="{80E8A97E-4D14-4268-B043-8933A19483DA}"/>
    <dgm:cxn modelId="{AC431E10-8495-40FC-AE68-1DE0241390B0}" srcId="{09BA98DE-DEC2-4D0D-8490-D3297BBF0088}" destId="{A7376EC0-5FEA-48A4-B284-B453C867CA4F}" srcOrd="0" destOrd="0" parTransId="{D8387D70-E1F9-4B42-8EE4-B3BED889F64B}" sibTransId="{620F1AE9-67A6-43E4-8D4E-A7556D36F8F8}"/>
    <dgm:cxn modelId="{5A200011-DE1C-4E4A-8F4A-4D5AD08EE3A9}" srcId="{09BA98DE-DEC2-4D0D-8490-D3297BBF0088}" destId="{16B3806B-317F-41B0-ABDF-7267C80EC3B2}" srcOrd="4" destOrd="0" parTransId="{97DC8A9B-CFD6-40D1-A1ED-398BABE06067}" sibTransId="{C1409865-ED18-41BE-9B28-662D81AEEE4F}"/>
    <dgm:cxn modelId="{9485E016-24FF-4C5B-A604-8D2C35894629}" type="presOf" srcId="{6733E3A7-9EE4-4EFF-B65C-61E0B126E302}" destId="{1F321622-6935-42D4-AE83-D556256DD586}" srcOrd="0" destOrd="0" presId="urn:microsoft.com/office/officeart/2005/8/layout/architecture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4DF5D2A-6A4D-4162-9537-4E5EFE935020}" type="presOf" srcId="{8E346F4D-76A2-462D-9B44-3650FB2B405C}" destId="{CDB456C7-FEB2-4189-8DB4-859E0B913BE7}" srcOrd="0" destOrd="0" presId="urn:microsoft.com/office/officeart/2005/8/layout/architecture"/>
    <dgm:cxn modelId="{A979BC3C-2723-4156-B3DB-C01E9A5B2FD4}" type="presOf" srcId="{42D71409-67F9-455C-8C6D-716D284AAA6B}" destId="{034D588B-2C5E-413E-8FB3-A45A598FE77E}" srcOrd="0" destOrd="0" presId="urn:microsoft.com/office/officeart/2005/8/layout/architecture"/>
    <dgm:cxn modelId="{BE1FAE48-E7FA-4B5F-B8A0-AB0218E01AAA}" type="presOf" srcId="{09BA98DE-DEC2-4D0D-8490-D3297BBF0088}" destId="{79946D67-CF20-4533-873C-9747C402A031}" srcOrd="0" destOrd="0" presId="urn:microsoft.com/office/officeart/2005/8/layout/architecture"/>
    <dgm:cxn modelId="{D3531A79-F502-4DE6-B84D-ADA7B780EF91}" type="presOf" srcId="{6B9937D0-C50E-45C2-B4B1-863E69FCB5B1}" destId="{10845D90-6534-40EB-8279-CF7912BF2E6A}" srcOrd="0" destOrd="0" presId="urn:microsoft.com/office/officeart/2005/8/layout/architecture"/>
    <dgm:cxn modelId="{8F0BC77A-97BE-4977-BDA7-D96570690F34}" srcId="{09BA98DE-DEC2-4D0D-8490-D3297BBF0088}" destId="{6B9937D0-C50E-45C2-B4B1-863E69FCB5B1}" srcOrd="3" destOrd="0" parTransId="{AEF92B5E-DA15-46F7-BACF-71FF8F3D14F0}" sibTransId="{981C6366-F035-4302-9D7B-6125B4FAB462}"/>
    <dgm:cxn modelId="{838E4390-9F55-49D4-9507-F4A284234087}" type="presOf" srcId="{9A65ADEB-F1B5-411F-B9AC-B64E8E60B070}" destId="{AF9421C1-0977-4165-AE01-1E0941FF1DC2}" srcOrd="0" destOrd="0" presId="urn:microsoft.com/office/officeart/2005/8/layout/architecture"/>
    <dgm:cxn modelId="{01735BA0-2B36-41EC-BFC0-0CCFA7ACD053}" srcId="{09BA98DE-DEC2-4D0D-8490-D3297BBF0088}" destId="{2292288B-8B39-49F2-9CA8-9AFCD7CDA712}" srcOrd="1" destOrd="0" parTransId="{01D0AB0F-E732-41F9-9D62-3B8C4434DC42}" sibTransId="{572C2FA6-B61B-4B7E-9BE2-BE1757364927}"/>
    <dgm:cxn modelId="{D68E50A4-4DE3-4F5D-92C6-F68E47329EAA}" srcId="{09BA98DE-DEC2-4D0D-8490-D3297BBF0088}" destId="{589892E1-7E9A-4ED2-9A00-ECF59CD9E4E2}" srcOrd="2" destOrd="0" parTransId="{6298D63F-CF36-4C9A-B1AF-B6EC065B8542}" sibTransId="{6E27F27E-66F1-4C1C-AB5B-DE1A342F5B80}"/>
    <dgm:cxn modelId="{0D291AB4-BEB5-4618-B81D-7B95651B289E}" type="presOf" srcId="{16B3806B-317F-41B0-ABDF-7267C80EC3B2}" destId="{9A46057F-5CDA-4B57-BF6D-897D216AF86F}" srcOrd="0" destOrd="0" presId="urn:microsoft.com/office/officeart/2005/8/layout/architecture"/>
    <dgm:cxn modelId="{29AD19C1-E3CA-4CBB-B7D5-1464D9D29FFC}" type="presOf" srcId="{B9C32B05-62EA-407A-B21C-2310C7945705}" destId="{2B2119DE-9C5F-42BD-90CA-B1F7EF735AF4}" srcOrd="0" destOrd="0" presId="urn:microsoft.com/office/officeart/2005/8/layout/architecture"/>
    <dgm:cxn modelId="{B74A69C1-DB0A-4823-ABB8-FD9F97D1DF87}" srcId="{42D71409-67F9-455C-8C6D-716D284AAA6B}" destId="{09BA98DE-DEC2-4D0D-8490-D3297BBF0088}" srcOrd="1" destOrd="0" parTransId="{8E89657A-9899-4663-8EBD-CE951A955DD5}" sibTransId="{D9604DA3-0B95-413D-AA9C-D75798C0FF52}"/>
    <dgm:cxn modelId="{C4B3FED4-3336-4139-911B-D057D16A48F5}" srcId="{B9C32B05-62EA-407A-B21C-2310C7945705}" destId="{6733E3A7-9EE4-4EFF-B65C-61E0B126E302}" srcOrd="1" destOrd="0" parTransId="{3D98FF0D-B7EB-42FA-8A0C-F97A740C5CC2}" sibTransId="{C64997DC-0FAE-46D2-807A-F0C151BFA135}"/>
    <dgm:cxn modelId="{13147EDA-6AAB-4BDB-84A1-5EBE5C2F9AC0}" type="presOf" srcId="{A7376EC0-5FEA-48A4-B284-B453C867CA4F}" destId="{7951CDCD-4F97-4CCA-8C56-4992B72B07BB}" srcOrd="0" destOrd="0" presId="urn:microsoft.com/office/officeart/2005/8/layout/architecture"/>
    <dgm:cxn modelId="{CDE785E0-C465-484D-9E57-92F491C024BB}" type="presOf" srcId="{589892E1-7E9A-4ED2-9A00-ECF59CD9E4E2}" destId="{D8A6C93A-917D-4567-B16D-E30EEE8A93BD}" srcOrd="0" destOrd="0" presId="urn:microsoft.com/office/officeart/2005/8/layout/architecture"/>
    <dgm:cxn modelId="{E9122CFC-2E55-4948-9216-106805F06521}" type="presOf" srcId="{2292288B-8B39-49F2-9CA8-9AFCD7CDA712}" destId="{16415C91-F210-4416-A0F4-1AA0347D5471}" srcOrd="0" destOrd="0" presId="urn:microsoft.com/office/officeart/2005/8/layout/architecture"/>
    <dgm:cxn modelId="{39EA7F95-4D46-4958-AC66-FB5E4923064E}" type="presParOf" srcId="{2B2119DE-9C5F-42BD-90CA-B1F7EF735AF4}" destId="{7B9E2D6A-8969-4EEC-85C2-615B86E0B196}" srcOrd="0" destOrd="0" presId="urn:microsoft.com/office/officeart/2005/8/layout/architecture"/>
    <dgm:cxn modelId="{55849938-37BC-425A-9F52-D3C2D550C45C}" type="presParOf" srcId="{7B9E2D6A-8969-4EEC-85C2-615B86E0B196}" destId="{034D588B-2C5E-413E-8FB3-A45A598FE77E}" srcOrd="0" destOrd="0" presId="urn:microsoft.com/office/officeart/2005/8/layout/architecture"/>
    <dgm:cxn modelId="{78954A11-5968-418D-8359-8E2137AE71C9}" type="presParOf" srcId="{7B9E2D6A-8969-4EEC-85C2-615B86E0B196}" destId="{155C8750-CD3F-4EED-8869-852B83F3E2B4}" srcOrd="1" destOrd="0" presId="urn:microsoft.com/office/officeart/2005/8/layout/architecture"/>
    <dgm:cxn modelId="{1D889143-CBFE-457D-B257-4536B47700D6}" type="presParOf" srcId="{7B9E2D6A-8969-4EEC-85C2-615B86E0B196}" destId="{782F8E29-E0AF-4190-B2CF-FA75DA3E0DD3}" srcOrd="2" destOrd="0" presId="urn:microsoft.com/office/officeart/2005/8/layout/architecture"/>
    <dgm:cxn modelId="{A64ABA92-BFD4-464D-A813-719DA8E4D353}" type="presParOf" srcId="{782F8E29-E0AF-4190-B2CF-FA75DA3E0DD3}" destId="{DA72A51A-2648-42DA-A6F5-1368068F74F5}" srcOrd="0" destOrd="0" presId="urn:microsoft.com/office/officeart/2005/8/layout/architecture"/>
    <dgm:cxn modelId="{AE9B9108-75CD-4962-AAB5-0150EABB791A}" type="presParOf" srcId="{DA72A51A-2648-42DA-A6F5-1368068F74F5}" destId="{CDB456C7-FEB2-4189-8DB4-859E0B913BE7}" srcOrd="0" destOrd="0" presId="urn:microsoft.com/office/officeart/2005/8/layout/architecture"/>
    <dgm:cxn modelId="{CCF17E4B-C4B8-45FC-B226-A3056C897CDB}" type="presParOf" srcId="{DA72A51A-2648-42DA-A6F5-1368068F74F5}" destId="{665A94F3-AC2E-440A-90D8-6366FA2C472B}" srcOrd="1" destOrd="0" presId="urn:microsoft.com/office/officeart/2005/8/layout/architecture"/>
    <dgm:cxn modelId="{5D750304-BC3F-4CFB-84BA-E8DEEA9CB757}" type="presParOf" srcId="{782F8E29-E0AF-4190-B2CF-FA75DA3E0DD3}" destId="{E8E6822D-8E60-479F-9744-0822855A4470}" srcOrd="1" destOrd="0" presId="urn:microsoft.com/office/officeart/2005/8/layout/architecture"/>
    <dgm:cxn modelId="{64731336-DFF0-4527-A608-DA86DC8E03B9}" type="presParOf" srcId="{782F8E29-E0AF-4190-B2CF-FA75DA3E0DD3}" destId="{1DEC18CE-0974-4E7A-AE22-5B53857D08A5}" srcOrd="2" destOrd="0" presId="urn:microsoft.com/office/officeart/2005/8/layout/architecture"/>
    <dgm:cxn modelId="{C13FB284-2F9D-4AAA-82A1-BF020F9FA761}" type="presParOf" srcId="{1DEC18CE-0974-4E7A-AE22-5B53857D08A5}" destId="{79946D67-CF20-4533-873C-9747C402A031}" srcOrd="0" destOrd="0" presId="urn:microsoft.com/office/officeart/2005/8/layout/architecture"/>
    <dgm:cxn modelId="{CC01CDF7-CDD5-4DCB-ACA0-A29F780A5428}" type="presParOf" srcId="{1DEC18CE-0974-4E7A-AE22-5B53857D08A5}" destId="{11A9DFF6-0FBF-42E2-AC9E-E9078967B9F6}" srcOrd="1" destOrd="0" presId="urn:microsoft.com/office/officeart/2005/8/layout/architecture"/>
    <dgm:cxn modelId="{D05EC6C4-F0F6-48F5-8BE8-4B6FA953FBF9}" type="presParOf" srcId="{1DEC18CE-0974-4E7A-AE22-5B53857D08A5}" destId="{B536D2A5-09A8-40A9-B9B2-95A40A490E97}" srcOrd="2" destOrd="0" presId="urn:microsoft.com/office/officeart/2005/8/layout/architecture"/>
    <dgm:cxn modelId="{5F7F3AF0-0535-400B-8519-166D66F8E2B9}" type="presParOf" srcId="{B536D2A5-09A8-40A9-B9B2-95A40A490E97}" destId="{CC689BD4-6667-4A02-BE0B-05FBA1E9DFEE}" srcOrd="0" destOrd="0" presId="urn:microsoft.com/office/officeart/2005/8/layout/architecture"/>
    <dgm:cxn modelId="{91D6E38E-B3D7-458E-8D8A-5A0AD2B8F466}" type="presParOf" srcId="{CC689BD4-6667-4A02-BE0B-05FBA1E9DFEE}" destId="{7951CDCD-4F97-4CCA-8C56-4992B72B07BB}" srcOrd="0" destOrd="0" presId="urn:microsoft.com/office/officeart/2005/8/layout/architecture"/>
    <dgm:cxn modelId="{DA797278-E2B1-4C69-80C8-1EDBFA09ADF9}" type="presParOf" srcId="{CC689BD4-6667-4A02-BE0B-05FBA1E9DFEE}" destId="{5AA5A2CD-9B6E-4706-AD2B-726846A26241}" srcOrd="1" destOrd="0" presId="urn:microsoft.com/office/officeart/2005/8/layout/architecture"/>
    <dgm:cxn modelId="{EEEA0B91-D02D-42B9-83B2-F869C774B485}" type="presParOf" srcId="{B536D2A5-09A8-40A9-B9B2-95A40A490E97}" destId="{3774BBD5-FDE4-40E1-B05B-37017133E0FA}" srcOrd="1" destOrd="0" presId="urn:microsoft.com/office/officeart/2005/8/layout/architecture"/>
    <dgm:cxn modelId="{92B2A7FE-154A-42F2-938E-01F853842220}" type="presParOf" srcId="{B536D2A5-09A8-40A9-B9B2-95A40A490E97}" destId="{41559B25-8C6A-464D-BF22-BE3C9F736111}" srcOrd="2" destOrd="0" presId="urn:microsoft.com/office/officeart/2005/8/layout/architecture"/>
    <dgm:cxn modelId="{B42CC3AE-7780-40DD-B598-8F6990D86C95}" type="presParOf" srcId="{41559B25-8C6A-464D-BF22-BE3C9F736111}" destId="{16415C91-F210-4416-A0F4-1AA0347D5471}" srcOrd="0" destOrd="0" presId="urn:microsoft.com/office/officeart/2005/8/layout/architecture"/>
    <dgm:cxn modelId="{7364F703-18B4-4A0E-A14A-401B942420E7}" type="presParOf" srcId="{41559B25-8C6A-464D-BF22-BE3C9F736111}" destId="{2A95AAC2-1202-4AC2-BACF-0DA698DF7F4C}" srcOrd="1" destOrd="0" presId="urn:microsoft.com/office/officeart/2005/8/layout/architecture"/>
    <dgm:cxn modelId="{15159FF2-9BA1-43D6-AD31-8B5C8B9E10B9}" type="presParOf" srcId="{B536D2A5-09A8-40A9-B9B2-95A40A490E97}" destId="{8FF487CA-1EFE-4D30-AE1A-DA6180CF2B9F}" srcOrd="3" destOrd="0" presId="urn:microsoft.com/office/officeart/2005/8/layout/architecture"/>
    <dgm:cxn modelId="{C90D1555-79A3-441D-881D-AF6F09919C64}" type="presParOf" srcId="{B536D2A5-09A8-40A9-B9B2-95A40A490E97}" destId="{6F748793-9F52-45C0-BB7D-F70EE9ADCD11}" srcOrd="4" destOrd="0" presId="urn:microsoft.com/office/officeart/2005/8/layout/architecture"/>
    <dgm:cxn modelId="{EA412814-F0F3-4DD2-8FDB-70F4138BC3F5}" type="presParOf" srcId="{6F748793-9F52-45C0-BB7D-F70EE9ADCD11}" destId="{D8A6C93A-917D-4567-B16D-E30EEE8A93BD}" srcOrd="0" destOrd="0" presId="urn:microsoft.com/office/officeart/2005/8/layout/architecture"/>
    <dgm:cxn modelId="{19695E5B-85F2-44C5-9399-2F1C39E3706A}" type="presParOf" srcId="{6F748793-9F52-45C0-BB7D-F70EE9ADCD11}" destId="{EF0B39D7-3444-41FC-AA5E-204BA04CE20B}" srcOrd="1" destOrd="0" presId="urn:microsoft.com/office/officeart/2005/8/layout/architecture"/>
    <dgm:cxn modelId="{4BD63E64-D669-48C9-B21C-31652BE02F5E}" type="presParOf" srcId="{B536D2A5-09A8-40A9-B9B2-95A40A490E97}" destId="{0C74B5B8-1BB4-4CC1-B901-4409ED4551A1}" srcOrd="5" destOrd="0" presId="urn:microsoft.com/office/officeart/2005/8/layout/architecture"/>
    <dgm:cxn modelId="{94B5DC0C-011E-46D5-A6BC-24B36154307C}" type="presParOf" srcId="{B536D2A5-09A8-40A9-B9B2-95A40A490E97}" destId="{04CFD224-47B9-4740-85C5-27869E975EBD}" srcOrd="6" destOrd="0" presId="urn:microsoft.com/office/officeart/2005/8/layout/architecture"/>
    <dgm:cxn modelId="{87D3EE63-EBD5-4BD4-B5E4-E8664690A2BA}" type="presParOf" srcId="{04CFD224-47B9-4740-85C5-27869E975EBD}" destId="{10845D90-6534-40EB-8279-CF7912BF2E6A}" srcOrd="0" destOrd="0" presId="urn:microsoft.com/office/officeart/2005/8/layout/architecture"/>
    <dgm:cxn modelId="{C8B58524-33B3-44F8-8BC8-1FD497DB9BCB}" type="presParOf" srcId="{04CFD224-47B9-4740-85C5-27869E975EBD}" destId="{54AA577C-9EA8-4070-9234-7DE01FE1F281}" srcOrd="1" destOrd="0" presId="urn:microsoft.com/office/officeart/2005/8/layout/architecture"/>
    <dgm:cxn modelId="{1378A4C0-FAD3-47A4-8B84-A44C84F32B0D}" type="presParOf" srcId="{B536D2A5-09A8-40A9-B9B2-95A40A490E97}" destId="{439A1615-4820-49EA-B3CF-83905D4EF337}" srcOrd="7" destOrd="0" presId="urn:microsoft.com/office/officeart/2005/8/layout/architecture"/>
    <dgm:cxn modelId="{2B77D262-955C-43A0-BE54-547A297807CC}" type="presParOf" srcId="{B536D2A5-09A8-40A9-B9B2-95A40A490E97}" destId="{46B34DDF-9C3B-405B-9CAC-1D39BDBC2EEE}" srcOrd="8" destOrd="0" presId="urn:microsoft.com/office/officeart/2005/8/layout/architecture"/>
    <dgm:cxn modelId="{3E1D2094-3E51-425A-B206-0AB1AE1050C2}" type="presParOf" srcId="{46B34DDF-9C3B-405B-9CAC-1D39BDBC2EEE}" destId="{9A46057F-5CDA-4B57-BF6D-897D216AF86F}" srcOrd="0" destOrd="0" presId="urn:microsoft.com/office/officeart/2005/8/layout/architecture"/>
    <dgm:cxn modelId="{2AC9AE11-F5A3-47A3-99FB-46E4F009958B}" type="presParOf" srcId="{46B34DDF-9C3B-405B-9CAC-1D39BDBC2EEE}" destId="{DBC56214-4432-4434-8518-707CDC63F5BF}" srcOrd="1" destOrd="0" presId="urn:microsoft.com/office/officeart/2005/8/layout/architecture"/>
    <dgm:cxn modelId="{DB4A8B43-B4BA-4E07-8074-6CB05CD4EDA6}" type="presParOf" srcId="{2B2119DE-9C5F-42BD-90CA-B1F7EF735AF4}" destId="{38DD3712-FE5D-4944-89FA-AD709564BD3A}" srcOrd="1" destOrd="0" presId="urn:microsoft.com/office/officeart/2005/8/layout/architecture"/>
    <dgm:cxn modelId="{A022927A-6581-4085-9B1E-1A1B9241A5B9}" type="presParOf" srcId="{2B2119DE-9C5F-42BD-90CA-B1F7EF735AF4}" destId="{1C4B8FF2-A5B4-46BA-942A-8A19BEE69F70}" srcOrd="2" destOrd="0" presId="urn:microsoft.com/office/officeart/2005/8/layout/architecture"/>
    <dgm:cxn modelId="{F8F4D0D2-67F7-4012-95B0-9EAC6389B7AB}" type="presParOf" srcId="{1C4B8FF2-A5B4-46BA-942A-8A19BEE69F70}" destId="{1F321622-6935-42D4-AE83-D556256DD586}" srcOrd="0" destOrd="0" presId="urn:microsoft.com/office/officeart/2005/8/layout/architecture"/>
    <dgm:cxn modelId="{CA4ADC7B-CE63-4DDF-84CA-4F8D3C8299E5}" type="presParOf" srcId="{1C4B8FF2-A5B4-46BA-942A-8A19BEE69F70}" destId="{824137B6-FDCD-4837-BBD2-6FDD09327885}" srcOrd="1" destOrd="0" presId="urn:microsoft.com/office/officeart/2005/8/layout/architecture"/>
    <dgm:cxn modelId="{6044EE94-C166-49A1-BF1D-8458B8A6AB6E}" type="presParOf" srcId="{2B2119DE-9C5F-42BD-90CA-B1F7EF735AF4}" destId="{ECE19E2B-8C42-4059-9124-AF3EDDEFF355}" srcOrd="3" destOrd="0" presId="urn:microsoft.com/office/officeart/2005/8/layout/architecture"/>
    <dgm:cxn modelId="{4306862D-A5A7-4385-B9E7-87BDA51C6F4C}" type="presParOf" srcId="{2B2119DE-9C5F-42BD-90CA-B1F7EF735AF4}" destId="{915571E0-40F3-4E75-A71C-E935FB4D94B6}" srcOrd="4" destOrd="0" presId="urn:microsoft.com/office/officeart/2005/8/layout/architecture"/>
    <dgm:cxn modelId="{8428C0B9-B4E0-44D2-926E-0600BBB39387}" type="presParOf" srcId="{915571E0-40F3-4E75-A71C-E935FB4D94B6}" destId="{AF9421C1-0977-4165-AE01-1E0941FF1DC2}" srcOrd="0" destOrd="0" presId="urn:microsoft.com/office/officeart/2005/8/layout/architecture"/>
    <dgm:cxn modelId="{DD6084D8-02F4-4A7D-8393-EF295DCC57C0}" type="presParOf" srcId="{915571E0-40F3-4E75-A71C-E935FB4D94B6}" destId="{870B6F6E-AE96-4262-9B4A-86C432C82D5E}" srcOrd="1" destOrd="0" presId="urn:microsoft.com/office/officeart/2005/8/layout/archite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>
        <a:solidFill>
          <a:srgbClr val="7030A0"/>
        </a:solidFill>
        <a:ln>
          <a:solidFill>
            <a:schemeClr val="tx1"/>
          </a:solidFill>
        </a:ln>
      </dgm:spPr>
      <dgm:t>
        <a:bodyPr/>
        <a:lstStyle/>
        <a:p>
          <a:br>
            <a:rPr lang="pl-PL" sz="2000" dirty="0"/>
          </a:br>
          <a:r>
            <a:rPr lang="en-US" sz="2000" dirty="0"/>
            <a:t>UI</a:t>
          </a:r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>
        <a:solidFill>
          <a:schemeClr val="accent3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0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pl-PL" sz="2000" dirty="0"/>
            <a:t>BACKEND</a:t>
          </a:r>
          <a:endParaRPr lang="en-US" sz="2000" dirty="0"/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 custScaleY="66687" custLinFactNeighborX="502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 custScaleY="63097" custLinFactNeighborX="524" custLinFactNeighborY="-71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 custScaleY="64367" custLinFactNeighborY="3926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BBE8411-3190-4A3A-B989-51C1B2947291}" type="presOf" srcId="{F7E37FBC-8099-4DB3-B4F8-DBDE0DCEC1D7}" destId="{9BFA4AC6-E825-4477-B889-F9C66C1195B8}" srcOrd="0" destOrd="0" presId="urn:microsoft.com/office/officeart/2005/8/layout/pyramid1"/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1B795B21-46DE-4755-943C-F01105C75C15}" type="presOf" srcId="{40285531-BAEE-43E6-BBD4-8249575B1878}" destId="{D9074314-C21A-447C-9E4D-59C6F495C412}" srcOrd="0" destOrd="0" presId="urn:microsoft.com/office/officeart/2005/8/layout/pyramid1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B55B675F-1AC6-4E11-9CF0-F9AED92641B5}" type="presOf" srcId="{40285531-BAEE-43E6-BBD4-8249575B1878}" destId="{9A3F85C7-0AE1-424E-8646-B4248B01294E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470F893-7D7E-45B6-A670-AB2ACA3D5826}" type="presOf" srcId="{F7E37FBC-8099-4DB3-B4F8-DBDE0DCEC1D7}" destId="{7008F9DC-B4CA-4C47-ACF8-16602824A142}" srcOrd="1" destOrd="0" presId="urn:microsoft.com/office/officeart/2005/8/layout/pyramid1"/>
    <dgm:cxn modelId="{369F40CD-1451-46A3-9197-B631F07F4D34}" type="presOf" srcId="{6ED7E280-935A-4740-AB58-C0FAE580BFA8}" destId="{3DF1A04F-9824-4FA2-8E9B-69197A34DB02}" srcOrd="0" destOrd="0" presId="urn:microsoft.com/office/officeart/2005/8/layout/pyramid1"/>
    <dgm:cxn modelId="{338064E2-CA05-402C-B778-2BB888B9D52E}" type="presOf" srcId="{6160D3D4-613A-4519-A481-F89ADD5F7320}" destId="{891CA3F0-A4E4-43F8-949C-180B2AB3BCFE}" srcOrd="0" destOrd="0" presId="urn:microsoft.com/office/officeart/2005/8/layout/pyramid1"/>
    <dgm:cxn modelId="{63F8C2F3-CB24-433D-B098-C4D03AADA2D6}" type="presOf" srcId="{6ED7E280-935A-4740-AB58-C0FAE580BFA8}" destId="{B615F79F-706C-4309-9FFC-D94774F354E8}" srcOrd="1" destOrd="0" presId="urn:microsoft.com/office/officeart/2005/8/layout/pyramid1"/>
    <dgm:cxn modelId="{951B6FEC-DD2B-42BC-8A79-CF422BD9EFFA}" type="presParOf" srcId="{891CA3F0-A4E4-43F8-949C-180B2AB3BCFE}" destId="{24A053E9-ED32-40AA-8B2A-BD33F0C11AE2}" srcOrd="0" destOrd="0" presId="urn:microsoft.com/office/officeart/2005/8/layout/pyramid1"/>
    <dgm:cxn modelId="{B7C3F258-D632-4838-9E52-1B6E9767325C}" type="presParOf" srcId="{24A053E9-ED32-40AA-8B2A-BD33F0C11AE2}" destId="{9BFA4AC6-E825-4477-B889-F9C66C1195B8}" srcOrd="0" destOrd="0" presId="urn:microsoft.com/office/officeart/2005/8/layout/pyramid1"/>
    <dgm:cxn modelId="{53458D5B-F8AF-487B-A420-7BB925AD6C32}" type="presParOf" srcId="{24A053E9-ED32-40AA-8B2A-BD33F0C11AE2}" destId="{7008F9DC-B4CA-4C47-ACF8-16602824A142}" srcOrd="1" destOrd="0" presId="urn:microsoft.com/office/officeart/2005/8/layout/pyramid1"/>
    <dgm:cxn modelId="{571B8127-D607-4AEE-BB6F-FC06E4E97617}" type="presParOf" srcId="{891CA3F0-A4E4-43F8-949C-180B2AB3BCFE}" destId="{141F8D72-3F15-4CC5-95F4-F3EA15242490}" srcOrd="1" destOrd="0" presId="urn:microsoft.com/office/officeart/2005/8/layout/pyramid1"/>
    <dgm:cxn modelId="{95977A26-58CE-4D66-9B8D-9EDB9D4CAC50}" type="presParOf" srcId="{141F8D72-3F15-4CC5-95F4-F3EA15242490}" destId="{3DF1A04F-9824-4FA2-8E9B-69197A34DB02}" srcOrd="0" destOrd="0" presId="urn:microsoft.com/office/officeart/2005/8/layout/pyramid1"/>
    <dgm:cxn modelId="{5BFC64BE-3618-43D8-9A25-45308346F1BB}" type="presParOf" srcId="{141F8D72-3F15-4CC5-95F4-F3EA15242490}" destId="{B615F79F-706C-4309-9FFC-D94774F354E8}" srcOrd="1" destOrd="0" presId="urn:microsoft.com/office/officeart/2005/8/layout/pyramid1"/>
    <dgm:cxn modelId="{E784AAA4-333B-463A-A8C1-50E1D680DDF9}" type="presParOf" srcId="{891CA3F0-A4E4-43F8-949C-180B2AB3BCFE}" destId="{6B315756-5F49-4E5C-B814-8281ACC31042}" srcOrd="2" destOrd="0" presId="urn:microsoft.com/office/officeart/2005/8/layout/pyramid1"/>
    <dgm:cxn modelId="{FAD2DC6E-DAF8-4C98-A139-F4A09C8BE71C}" type="presParOf" srcId="{6B315756-5F49-4E5C-B814-8281ACC31042}" destId="{D9074314-C21A-447C-9E4D-59C6F495C412}" srcOrd="0" destOrd="0" presId="urn:microsoft.com/office/officeart/2005/8/layout/pyramid1"/>
    <dgm:cxn modelId="{03C408EF-023C-4948-9A09-A3CC2203B567}" type="presParOf" srcId="{6B315756-5F49-4E5C-B814-8281ACC31042}" destId="{9A3F85C7-0AE1-424E-8646-B4248B01294E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38933A98-3F25-4C1D-9364-4750F2C1ACDE}" type="doc">
      <dgm:prSet loTypeId="urn:microsoft.com/office/officeart/2005/8/layout/vList5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EF6F8C18-EE65-4ED4-9E4C-B5406C2E3687}">
      <dgm:prSet phldrT="[Text]"/>
      <dgm:spPr/>
      <dgm:t>
        <a:bodyPr/>
        <a:lstStyle/>
        <a:p>
          <a:r>
            <a:rPr lang="en-US" b="0" noProof="0"/>
            <a:t>Easy to install</a:t>
          </a:r>
          <a:endParaRPr lang="en-US" noProof="0"/>
        </a:p>
      </dgm:t>
    </dgm:pt>
    <dgm:pt modelId="{96C3FBDD-A471-4CAF-AB22-85522ECDD7E8}" type="parTrans" cxnId="{413B9ED4-43A0-45A9-B51B-8ACCA1DAF58D}">
      <dgm:prSet/>
      <dgm:spPr/>
      <dgm:t>
        <a:bodyPr/>
        <a:lstStyle/>
        <a:p>
          <a:endParaRPr lang="en-US"/>
        </a:p>
      </dgm:t>
    </dgm:pt>
    <dgm:pt modelId="{3513DDB3-B6E8-4400-B5B3-AE80EB77FD39}" type="sibTrans" cxnId="{413B9ED4-43A0-45A9-B51B-8ACCA1DAF58D}">
      <dgm:prSet/>
      <dgm:spPr/>
      <dgm:t>
        <a:bodyPr/>
        <a:lstStyle/>
        <a:p>
          <a:endParaRPr lang="en-US"/>
        </a:p>
      </dgm:t>
    </dgm:pt>
    <dgm:pt modelId="{A7B77324-4D06-4FB8-8E93-DA0EEE2C440C}">
      <dgm:prSet phldrT="[Text]" custT="1"/>
      <dgm:spPr/>
      <dgm:t>
        <a:bodyPr/>
        <a:lstStyle/>
        <a:p>
          <a:r>
            <a:rPr lang="en-US" sz="1200" noProof="0"/>
            <a:t>Documentation</a:t>
          </a:r>
        </a:p>
      </dgm:t>
    </dgm:pt>
    <dgm:pt modelId="{08E76D8E-69F7-4B1E-8824-AB354F458148}" type="parTrans" cxnId="{2B0E2849-E1DD-4445-9DE4-BFFF4CFEE546}">
      <dgm:prSet/>
      <dgm:spPr/>
      <dgm:t>
        <a:bodyPr/>
        <a:lstStyle/>
        <a:p>
          <a:endParaRPr lang="en-US"/>
        </a:p>
      </dgm:t>
    </dgm:pt>
    <dgm:pt modelId="{294FDD05-06DC-4DEC-805B-88FB20CE879A}" type="sibTrans" cxnId="{2B0E2849-E1DD-4445-9DE4-BFFF4CFEE546}">
      <dgm:prSet/>
      <dgm:spPr/>
      <dgm:t>
        <a:bodyPr/>
        <a:lstStyle/>
        <a:p>
          <a:endParaRPr lang="en-US"/>
        </a:p>
      </dgm:t>
    </dgm:pt>
    <dgm:pt modelId="{398AB1F5-5321-44A6-ABAB-4C05E6751DCD}">
      <dgm:prSet phldrT="[Text]" custT="1"/>
      <dgm:spPr/>
      <dgm:t>
        <a:bodyPr/>
        <a:lstStyle/>
        <a:p>
          <a:r>
            <a:rPr lang="en-US" sz="1200" noProof="0"/>
            <a:t>One installer script</a:t>
          </a:r>
        </a:p>
      </dgm:t>
    </dgm:pt>
    <dgm:pt modelId="{9626CF3C-3892-4D74-AF21-EC3B6BA98AF4}" type="parTrans" cxnId="{8EF02E38-CCBC-4B69-AFF6-8E138AD3444C}">
      <dgm:prSet/>
      <dgm:spPr/>
      <dgm:t>
        <a:bodyPr/>
        <a:lstStyle/>
        <a:p>
          <a:endParaRPr lang="en-US"/>
        </a:p>
      </dgm:t>
    </dgm:pt>
    <dgm:pt modelId="{3F085AF7-F8B5-49B2-BE0A-74A33A877A4A}" type="sibTrans" cxnId="{8EF02E38-CCBC-4B69-AFF6-8E138AD3444C}">
      <dgm:prSet/>
      <dgm:spPr/>
      <dgm:t>
        <a:bodyPr/>
        <a:lstStyle/>
        <a:p>
          <a:endParaRPr lang="en-US"/>
        </a:p>
      </dgm:t>
    </dgm:pt>
    <dgm:pt modelId="{39D79C52-04FD-45E0-A792-5C011D53E213}">
      <dgm:prSet/>
      <dgm:spPr/>
      <dgm:t>
        <a:bodyPr/>
        <a:lstStyle/>
        <a:p>
          <a:pPr rtl="0"/>
          <a:r>
            <a:rPr lang="en-US" b="0" noProof="0"/>
            <a:t>Auto-scaling</a:t>
          </a:r>
          <a:endParaRPr lang="en-US" noProof="0"/>
        </a:p>
      </dgm:t>
    </dgm:pt>
    <dgm:pt modelId="{790F6925-64A6-49A8-8489-5A5C22EAA65F}" type="parTrans" cxnId="{4EF43F66-B634-4613-B357-8E73B7B4301E}">
      <dgm:prSet/>
      <dgm:spPr/>
      <dgm:t>
        <a:bodyPr/>
        <a:lstStyle/>
        <a:p>
          <a:endParaRPr lang="en-US"/>
        </a:p>
      </dgm:t>
    </dgm:pt>
    <dgm:pt modelId="{5B6419B6-3F49-4A52-9428-B77CBCC43D33}" type="sibTrans" cxnId="{4EF43F66-B634-4613-B357-8E73B7B4301E}">
      <dgm:prSet/>
      <dgm:spPr/>
      <dgm:t>
        <a:bodyPr/>
        <a:lstStyle/>
        <a:p>
          <a:endParaRPr lang="en-US"/>
        </a:p>
      </dgm:t>
    </dgm:pt>
    <dgm:pt modelId="{734A893E-5015-4550-849C-E41CB654DB3D}">
      <dgm:prSet custT="1"/>
      <dgm:spPr/>
      <dgm:t>
        <a:bodyPr/>
        <a:lstStyle/>
        <a:p>
          <a:pPr rtl="0"/>
          <a:r>
            <a:rPr lang="en-US" sz="1200" b="0" noProof="0"/>
            <a:t>solution created on top of Docker Swarm</a:t>
          </a:r>
          <a:endParaRPr lang="en-US" sz="1200" noProof="0"/>
        </a:p>
      </dgm:t>
    </dgm:pt>
    <dgm:pt modelId="{C79DF547-FA0B-45A3-97FD-71A0603BA06D}" type="parTrans" cxnId="{A5554ED7-D23D-4EC0-8495-B7D1F979C554}">
      <dgm:prSet/>
      <dgm:spPr/>
      <dgm:t>
        <a:bodyPr/>
        <a:lstStyle/>
        <a:p>
          <a:endParaRPr lang="en-US"/>
        </a:p>
      </dgm:t>
    </dgm:pt>
    <dgm:pt modelId="{6BD06457-7035-4E4B-BDF2-0CFB0C3F9544}" type="sibTrans" cxnId="{A5554ED7-D23D-4EC0-8495-B7D1F979C554}">
      <dgm:prSet/>
      <dgm:spPr/>
      <dgm:t>
        <a:bodyPr/>
        <a:lstStyle/>
        <a:p>
          <a:endParaRPr lang="en-US"/>
        </a:p>
      </dgm:t>
    </dgm:pt>
    <dgm:pt modelId="{B4664962-AA95-4556-8801-8BF7A96AC084}">
      <dgm:prSet/>
      <dgm:spPr/>
      <dgm:t>
        <a:bodyPr/>
        <a:lstStyle/>
        <a:p>
          <a:pPr rtl="0"/>
          <a:r>
            <a:rPr lang="en-US" noProof="0"/>
            <a:t>Transparent infrastructure</a:t>
          </a:r>
        </a:p>
      </dgm:t>
    </dgm:pt>
    <dgm:pt modelId="{DE159136-CEE6-44D1-9799-230813449EFC}" type="parTrans" cxnId="{0177400D-2159-447A-840F-D29FAE0B4680}">
      <dgm:prSet/>
      <dgm:spPr/>
      <dgm:t>
        <a:bodyPr/>
        <a:lstStyle/>
        <a:p>
          <a:endParaRPr lang="en-US"/>
        </a:p>
      </dgm:t>
    </dgm:pt>
    <dgm:pt modelId="{9B0DB57E-B87C-4722-B48E-4F887384BEC9}" type="sibTrans" cxnId="{0177400D-2159-447A-840F-D29FAE0B4680}">
      <dgm:prSet/>
      <dgm:spPr/>
      <dgm:t>
        <a:bodyPr/>
        <a:lstStyle/>
        <a:p>
          <a:endParaRPr lang="en-US"/>
        </a:p>
      </dgm:t>
    </dgm:pt>
    <dgm:pt modelId="{A18D2D7E-76C5-4786-884C-838AC4B21F50}">
      <dgm:prSet custT="1"/>
      <dgm:spPr/>
      <dgm:t>
        <a:bodyPr/>
        <a:lstStyle/>
        <a:p>
          <a:pPr rtl="0"/>
          <a:r>
            <a:rPr lang="en-US" sz="1200" noProof="0"/>
            <a:t>on-premise or</a:t>
          </a:r>
        </a:p>
      </dgm:t>
    </dgm:pt>
    <dgm:pt modelId="{E4826F10-151C-4E3E-9D3B-139059A6657D}" type="parTrans" cxnId="{FABFC970-827E-46AF-AB24-4E9BEB9D3796}">
      <dgm:prSet/>
      <dgm:spPr/>
      <dgm:t>
        <a:bodyPr/>
        <a:lstStyle/>
        <a:p>
          <a:endParaRPr lang="en-US"/>
        </a:p>
      </dgm:t>
    </dgm:pt>
    <dgm:pt modelId="{53665058-3D40-4CA0-B7B9-D853F36D5A66}" type="sibTrans" cxnId="{FABFC970-827E-46AF-AB24-4E9BEB9D3796}">
      <dgm:prSet/>
      <dgm:spPr/>
      <dgm:t>
        <a:bodyPr/>
        <a:lstStyle/>
        <a:p>
          <a:endParaRPr lang="en-US"/>
        </a:p>
      </dgm:t>
    </dgm:pt>
    <dgm:pt modelId="{E38E6C43-3AE9-4DBF-B7E7-DB4BEBEDBCB4}">
      <dgm:prSet custT="1"/>
      <dgm:spPr/>
      <dgm:t>
        <a:bodyPr/>
        <a:lstStyle/>
        <a:p>
          <a:pPr rtl="0"/>
          <a:r>
            <a:rPr lang="en-US" sz="1200" noProof="0" dirty="0"/>
            <a:t>cloud provider</a:t>
          </a:r>
          <a:r>
            <a:rPr lang="pl-PL" sz="1200" noProof="0" dirty="0"/>
            <a:t> ( AWS, </a:t>
          </a:r>
          <a:r>
            <a:rPr lang="pl-PL" sz="1200" noProof="0" dirty="0" err="1"/>
            <a:t>Azure</a:t>
          </a:r>
          <a:r>
            <a:rPr lang="pl-PL" sz="1200" noProof="0" dirty="0"/>
            <a:t>, Google Cloud)</a:t>
          </a:r>
          <a:endParaRPr lang="en-US" sz="1200" noProof="0" dirty="0"/>
        </a:p>
      </dgm:t>
    </dgm:pt>
    <dgm:pt modelId="{D74D21D3-5F8A-4992-B393-DD94BC0985D8}" type="parTrans" cxnId="{D0AB37C9-5E37-4068-AFE8-F6F6980FCAB0}">
      <dgm:prSet/>
      <dgm:spPr/>
      <dgm:t>
        <a:bodyPr/>
        <a:lstStyle/>
        <a:p>
          <a:endParaRPr lang="en-US"/>
        </a:p>
      </dgm:t>
    </dgm:pt>
    <dgm:pt modelId="{DB8A00EF-45F1-4754-94FE-46770CFE47BC}" type="sibTrans" cxnId="{D0AB37C9-5E37-4068-AFE8-F6F6980FCAB0}">
      <dgm:prSet/>
      <dgm:spPr/>
      <dgm:t>
        <a:bodyPr/>
        <a:lstStyle/>
        <a:p>
          <a:endParaRPr lang="en-US"/>
        </a:p>
      </dgm:t>
    </dgm:pt>
    <dgm:pt modelId="{8C74E9B3-1422-400D-82C6-84EB4A6E824B}">
      <dgm:prSet/>
      <dgm:spPr/>
      <dgm:t>
        <a:bodyPr/>
        <a:lstStyle/>
        <a:p>
          <a:pPr rtl="0"/>
          <a:r>
            <a:rPr lang="en-US" b="0" noProof="0"/>
            <a:t>Well defined upgrade process</a:t>
          </a:r>
        </a:p>
      </dgm:t>
    </dgm:pt>
    <dgm:pt modelId="{0F4B5B4D-3956-4AA2-B98B-C50A35007A31}" type="parTrans" cxnId="{A5E1EB64-3A47-4543-AA01-A61E6E9A9CC4}">
      <dgm:prSet/>
      <dgm:spPr/>
      <dgm:t>
        <a:bodyPr/>
        <a:lstStyle/>
        <a:p>
          <a:endParaRPr lang="en-US"/>
        </a:p>
      </dgm:t>
    </dgm:pt>
    <dgm:pt modelId="{97D62B1A-ABC8-4E0B-942A-23B4A19066A3}" type="sibTrans" cxnId="{A5E1EB64-3A47-4543-AA01-A61E6E9A9CC4}">
      <dgm:prSet/>
      <dgm:spPr/>
      <dgm:t>
        <a:bodyPr/>
        <a:lstStyle/>
        <a:p>
          <a:endParaRPr lang="en-US"/>
        </a:p>
      </dgm:t>
    </dgm:pt>
    <dgm:pt modelId="{7FFA7288-15CB-43E7-984A-09ECB716B056}">
      <dgm:prSet custT="1"/>
      <dgm:spPr/>
      <dgm:t>
        <a:bodyPr/>
        <a:lstStyle/>
        <a:p>
          <a:pPr rtl="0"/>
          <a:r>
            <a:rPr lang="en-US" sz="1200" b="0" noProof="0" dirty="0" err="1"/>
            <a:t>docker</a:t>
          </a:r>
          <a:r>
            <a:rPr lang="en-US" sz="1200" b="0" noProof="0" dirty="0"/>
            <a:t> Selenium images</a:t>
          </a:r>
        </a:p>
      </dgm:t>
    </dgm:pt>
    <dgm:pt modelId="{92894B45-9D38-4879-AC22-B4F784619E7C}" type="parTrans" cxnId="{B9D770B8-5F00-4C69-A8F7-D7749FA1D504}">
      <dgm:prSet/>
      <dgm:spPr/>
      <dgm:t>
        <a:bodyPr/>
        <a:lstStyle/>
        <a:p>
          <a:endParaRPr lang="en-US"/>
        </a:p>
      </dgm:t>
    </dgm:pt>
    <dgm:pt modelId="{C450EABB-2E20-4295-81EA-7292DEE8BA45}" type="sibTrans" cxnId="{B9D770B8-5F00-4C69-A8F7-D7749FA1D504}">
      <dgm:prSet/>
      <dgm:spPr/>
      <dgm:t>
        <a:bodyPr/>
        <a:lstStyle/>
        <a:p>
          <a:endParaRPr lang="en-US"/>
        </a:p>
      </dgm:t>
    </dgm:pt>
    <dgm:pt modelId="{5CF5F5EE-0B4A-4725-8C5A-59A6DC466C0F}" type="pres">
      <dgm:prSet presAssocID="{38933A98-3F25-4C1D-9364-4750F2C1ACDE}" presName="Name0" presStyleCnt="0">
        <dgm:presLayoutVars>
          <dgm:dir/>
          <dgm:animLvl val="lvl"/>
          <dgm:resizeHandles val="exact"/>
        </dgm:presLayoutVars>
      </dgm:prSet>
      <dgm:spPr/>
    </dgm:pt>
    <dgm:pt modelId="{6F1A2653-D13E-43DE-BCFA-FDCFE0C41CA3}" type="pres">
      <dgm:prSet presAssocID="{EF6F8C18-EE65-4ED4-9E4C-B5406C2E3687}" presName="linNode" presStyleCnt="0"/>
      <dgm:spPr/>
    </dgm:pt>
    <dgm:pt modelId="{5B0B5757-74C6-45A8-BC8F-10D4681765BB}" type="pres">
      <dgm:prSet presAssocID="{EF6F8C18-EE65-4ED4-9E4C-B5406C2E3687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01E751BE-D8C3-4A01-A226-007B87904C14}" type="pres">
      <dgm:prSet presAssocID="{EF6F8C18-EE65-4ED4-9E4C-B5406C2E3687}" presName="descendantText" presStyleLbl="alignAccFollowNode1" presStyleIdx="0" presStyleCnt="4">
        <dgm:presLayoutVars>
          <dgm:bulletEnabled val="1"/>
        </dgm:presLayoutVars>
      </dgm:prSet>
      <dgm:spPr/>
    </dgm:pt>
    <dgm:pt modelId="{448E619F-34CF-458A-9D94-E673A302CC9F}" type="pres">
      <dgm:prSet presAssocID="{3513DDB3-B6E8-4400-B5B3-AE80EB77FD39}" presName="sp" presStyleCnt="0"/>
      <dgm:spPr/>
    </dgm:pt>
    <dgm:pt modelId="{E38AA7D1-FB74-4503-93CC-C2CAF3031C5A}" type="pres">
      <dgm:prSet presAssocID="{39D79C52-04FD-45E0-A792-5C011D53E213}" presName="linNode" presStyleCnt="0"/>
      <dgm:spPr/>
    </dgm:pt>
    <dgm:pt modelId="{E9D78998-541D-4400-B24E-77A0598956DE}" type="pres">
      <dgm:prSet presAssocID="{39D79C52-04FD-45E0-A792-5C011D53E213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C7B3A613-7B1A-4F14-8953-6AF0782C9A0A}" type="pres">
      <dgm:prSet presAssocID="{39D79C52-04FD-45E0-A792-5C011D53E213}" presName="descendantText" presStyleLbl="alignAccFollowNode1" presStyleIdx="1" presStyleCnt="4">
        <dgm:presLayoutVars>
          <dgm:bulletEnabled val="1"/>
        </dgm:presLayoutVars>
      </dgm:prSet>
      <dgm:spPr/>
    </dgm:pt>
    <dgm:pt modelId="{0F23FA60-9B43-4A2D-A92E-BE0BB852C2B9}" type="pres">
      <dgm:prSet presAssocID="{5B6419B6-3F49-4A52-9428-B77CBCC43D33}" presName="sp" presStyleCnt="0"/>
      <dgm:spPr/>
    </dgm:pt>
    <dgm:pt modelId="{403509F2-2231-4E7D-AC41-0A94FCDCE13A}" type="pres">
      <dgm:prSet presAssocID="{B4664962-AA95-4556-8801-8BF7A96AC084}" presName="linNode" presStyleCnt="0"/>
      <dgm:spPr/>
    </dgm:pt>
    <dgm:pt modelId="{935DFA29-C3E8-4CB0-9B29-DFACF10BD8DF}" type="pres">
      <dgm:prSet presAssocID="{B4664962-AA95-4556-8801-8BF7A96AC084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E9F8012A-836C-4D5E-B5CF-5245DA27C291}" type="pres">
      <dgm:prSet presAssocID="{B4664962-AA95-4556-8801-8BF7A96AC084}" presName="descendantText" presStyleLbl="alignAccFollowNode1" presStyleIdx="2" presStyleCnt="4">
        <dgm:presLayoutVars>
          <dgm:bulletEnabled val="1"/>
        </dgm:presLayoutVars>
      </dgm:prSet>
      <dgm:spPr/>
    </dgm:pt>
    <dgm:pt modelId="{03E1574E-34D7-4BD9-B114-67AC9CFD3480}" type="pres">
      <dgm:prSet presAssocID="{9B0DB57E-B87C-4722-B48E-4F887384BEC9}" presName="sp" presStyleCnt="0"/>
      <dgm:spPr/>
    </dgm:pt>
    <dgm:pt modelId="{F4546014-1D56-477C-8959-F860BB727794}" type="pres">
      <dgm:prSet presAssocID="{8C74E9B3-1422-400D-82C6-84EB4A6E824B}" presName="linNode" presStyleCnt="0"/>
      <dgm:spPr/>
    </dgm:pt>
    <dgm:pt modelId="{086B8B3E-0606-436E-A2D9-F6953373EF94}" type="pres">
      <dgm:prSet presAssocID="{8C74E9B3-1422-400D-82C6-84EB4A6E824B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E08A42E7-8E9F-430A-BC5F-95896E2DEDEB}" type="pres">
      <dgm:prSet presAssocID="{8C74E9B3-1422-400D-82C6-84EB4A6E824B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CD491E0D-ED3A-4C4E-8DEE-97B85DC62229}" type="presOf" srcId="{39D79C52-04FD-45E0-A792-5C011D53E213}" destId="{E9D78998-541D-4400-B24E-77A0598956DE}" srcOrd="0" destOrd="0" presId="urn:microsoft.com/office/officeart/2005/8/layout/vList5"/>
    <dgm:cxn modelId="{0177400D-2159-447A-840F-D29FAE0B4680}" srcId="{38933A98-3F25-4C1D-9364-4750F2C1ACDE}" destId="{B4664962-AA95-4556-8801-8BF7A96AC084}" srcOrd="2" destOrd="0" parTransId="{DE159136-CEE6-44D1-9799-230813449EFC}" sibTransId="{9B0DB57E-B87C-4722-B48E-4F887384BEC9}"/>
    <dgm:cxn modelId="{FCCEC01E-6E8F-4BB7-A759-7F6CCFDB8DC0}" type="presOf" srcId="{E38E6C43-3AE9-4DBF-B7E7-DB4BEBEDBCB4}" destId="{E9F8012A-836C-4D5E-B5CF-5245DA27C291}" srcOrd="0" destOrd="1" presId="urn:microsoft.com/office/officeart/2005/8/layout/vList5"/>
    <dgm:cxn modelId="{8EF02E38-CCBC-4B69-AFF6-8E138AD3444C}" srcId="{EF6F8C18-EE65-4ED4-9E4C-B5406C2E3687}" destId="{398AB1F5-5321-44A6-ABAB-4C05E6751DCD}" srcOrd="1" destOrd="0" parTransId="{9626CF3C-3892-4D74-AF21-EC3B6BA98AF4}" sibTransId="{3F085AF7-F8B5-49B2-BE0A-74A33A877A4A}"/>
    <dgm:cxn modelId="{13E99A43-6DEE-4170-9B5F-936EFEF37A75}" type="presOf" srcId="{38933A98-3F25-4C1D-9364-4750F2C1ACDE}" destId="{5CF5F5EE-0B4A-4725-8C5A-59A6DC466C0F}" srcOrd="0" destOrd="0" presId="urn:microsoft.com/office/officeart/2005/8/layout/vList5"/>
    <dgm:cxn modelId="{A5E1EB64-3A47-4543-AA01-A61E6E9A9CC4}" srcId="{38933A98-3F25-4C1D-9364-4750F2C1ACDE}" destId="{8C74E9B3-1422-400D-82C6-84EB4A6E824B}" srcOrd="3" destOrd="0" parTransId="{0F4B5B4D-3956-4AA2-B98B-C50A35007A31}" sibTransId="{97D62B1A-ABC8-4E0B-942A-23B4A19066A3}"/>
    <dgm:cxn modelId="{4EF43F66-B634-4613-B357-8E73B7B4301E}" srcId="{38933A98-3F25-4C1D-9364-4750F2C1ACDE}" destId="{39D79C52-04FD-45E0-A792-5C011D53E213}" srcOrd="1" destOrd="0" parTransId="{790F6925-64A6-49A8-8489-5A5C22EAA65F}" sibTransId="{5B6419B6-3F49-4A52-9428-B77CBCC43D33}"/>
    <dgm:cxn modelId="{5D9E4C68-B9B7-4679-8F22-20B07B46ACF3}" type="presOf" srcId="{398AB1F5-5321-44A6-ABAB-4C05E6751DCD}" destId="{01E751BE-D8C3-4A01-A226-007B87904C14}" srcOrd="0" destOrd="1" presId="urn:microsoft.com/office/officeart/2005/8/layout/vList5"/>
    <dgm:cxn modelId="{2B0E2849-E1DD-4445-9DE4-BFFF4CFEE546}" srcId="{EF6F8C18-EE65-4ED4-9E4C-B5406C2E3687}" destId="{A7B77324-4D06-4FB8-8E93-DA0EEE2C440C}" srcOrd="0" destOrd="0" parTransId="{08E76D8E-69F7-4B1E-8824-AB354F458148}" sibTransId="{294FDD05-06DC-4DEC-805B-88FB20CE879A}"/>
    <dgm:cxn modelId="{4BAF6669-AC72-453A-9606-463F4AB31D23}" type="presOf" srcId="{A7B77324-4D06-4FB8-8E93-DA0EEE2C440C}" destId="{01E751BE-D8C3-4A01-A226-007B87904C14}" srcOrd="0" destOrd="0" presId="urn:microsoft.com/office/officeart/2005/8/layout/vList5"/>
    <dgm:cxn modelId="{FABFC970-827E-46AF-AB24-4E9BEB9D3796}" srcId="{B4664962-AA95-4556-8801-8BF7A96AC084}" destId="{A18D2D7E-76C5-4786-884C-838AC4B21F50}" srcOrd="0" destOrd="0" parTransId="{E4826F10-151C-4E3E-9D3B-139059A6657D}" sibTransId="{53665058-3D40-4CA0-B7B9-D853F36D5A66}"/>
    <dgm:cxn modelId="{5BF06580-A2A2-4D3E-B356-80291A84FEED}" type="presOf" srcId="{A18D2D7E-76C5-4786-884C-838AC4B21F50}" destId="{E9F8012A-836C-4D5E-B5CF-5245DA27C291}" srcOrd="0" destOrd="0" presId="urn:microsoft.com/office/officeart/2005/8/layout/vList5"/>
    <dgm:cxn modelId="{9DFE1D9A-8152-4284-B6CA-6A7CE0B230F9}" type="presOf" srcId="{734A893E-5015-4550-849C-E41CB654DB3D}" destId="{C7B3A613-7B1A-4F14-8953-6AF0782C9A0A}" srcOrd="0" destOrd="0" presId="urn:microsoft.com/office/officeart/2005/8/layout/vList5"/>
    <dgm:cxn modelId="{27CB0F9F-534A-49E5-B26F-DF8E6328CF1E}" type="presOf" srcId="{8C74E9B3-1422-400D-82C6-84EB4A6E824B}" destId="{086B8B3E-0606-436E-A2D9-F6953373EF94}" srcOrd="0" destOrd="0" presId="urn:microsoft.com/office/officeart/2005/8/layout/vList5"/>
    <dgm:cxn modelId="{B9D770B8-5F00-4C69-A8F7-D7749FA1D504}" srcId="{8C74E9B3-1422-400D-82C6-84EB4A6E824B}" destId="{7FFA7288-15CB-43E7-984A-09ECB716B056}" srcOrd="0" destOrd="0" parTransId="{92894B45-9D38-4879-AC22-B4F784619E7C}" sibTransId="{C450EABB-2E20-4295-81EA-7292DEE8BA45}"/>
    <dgm:cxn modelId="{CE5D0ABB-182F-44A5-9743-75B2C3C5E4CF}" type="presOf" srcId="{7FFA7288-15CB-43E7-984A-09ECB716B056}" destId="{E08A42E7-8E9F-430A-BC5F-95896E2DEDEB}" srcOrd="0" destOrd="0" presId="urn:microsoft.com/office/officeart/2005/8/layout/vList5"/>
    <dgm:cxn modelId="{9A78E1C5-2558-40C9-8463-A8B90595BE5F}" type="presOf" srcId="{EF6F8C18-EE65-4ED4-9E4C-B5406C2E3687}" destId="{5B0B5757-74C6-45A8-BC8F-10D4681765BB}" srcOrd="0" destOrd="0" presId="urn:microsoft.com/office/officeart/2005/8/layout/vList5"/>
    <dgm:cxn modelId="{D0AB37C9-5E37-4068-AFE8-F6F6980FCAB0}" srcId="{B4664962-AA95-4556-8801-8BF7A96AC084}" destId="{E38E6C43-3AE9-4DBF-B7E7-DB4BEBEDBCB4}" srcOrd="1" destOrd="0" parTransId="{D74D21D3-5F8A-4992-B393-DD94BC0985D8}" sibTransId="{DB8A00EF-45F1-4754-94FE-46770CFE47BC}"/>
    <dgm:cxn modelId="{413B9ED4-43A0-45A9-B51B-8ACCA1DAF58D}" srcId="{38933A98-3F25-4C1D-9364-4750F2C1ACDE}" destId="{EF6F8C18-EE65-4ED4-9E4C-B5406C2E3687}" srcOrd="0" destOrd="0" parTransId="{96C3FBDD-A471-4CAF-AB22-85522ECDD7E8}" sibTransId="{3513DDB3-B6E8-4400-B5B3-AE80EB77FD39}"/>
    <dgm:cxn modelId="{A5554ED7-D23D-4EC0-8495-B7D1F979C554}" srcId="{39D79C52-04FD-45E0-A792-5C011D53E213}" destId="{734A893E-5015-4550-849C-E41CB654DB3D}" srcOrd="0" destOrd="0" parTransId="{C79DF547-FA0B-45A3-97FD-71A0603BA06D}" sibTransId="{6BD06457-7035-4E4B-BDF2-0CFB0C3F9544}"/>
    <dgm:cxn modelId="{4B863FDA-AF7B-4B34-B68B-80C37B47E31E}" type="presOf" srcId="{B4664962-AA95-4556-8801-8BF7A96AC084}" destId="{935DFA29-C3E8-4CB0-9B29-DFACF10BD8DF}" srcOrd="0" destOrd="0" presId="urn:microsoft.com/office/officeart/2005/8/layout/vList5"/>
    <dgm:cxn modelId="{D9156DD0-41DD-4FAD-B13A-266E8C1047A3}" type="presParOf" srcId="{5CF5F5EE-0B4A-4725-8C5A-59A6DC466C0F}" destId="{6F1A2653-D13E-43DE-BCFA-FDCFE0C41CA3}" srcOrd="0" destOrd="0" presId="urn:microsoft.com/office/officeart/2005/8/layout/vList5"/>
    <dgm:cxn modelId="{145487D5-5A6F-4328-A499-C5DAC8F4B099}" type="presParOf" srcId="{6F1A2653-D13E-43DE-BCFA-FDCFE0C41CA3}" destId="{5B0B5757-74C6-45A8-BC8F-10D4681765BB}" srcOrd="0" destOrd="0" presId="urn:microsoft.com/office/officeart/2005/8/layout/vList5"/>
    <dgm:cxn modelId="{CD3188B8-C55A-4132-8D78-077138F57A8E}" type="presParOf" srcId="{6F1A2653-D13E-43DE-BCFA-FDCFE0C41CA3}" destId="{01E751BE-D8C3-4A01-A226-007B87904C14}" srcOrd="1" destOrd="0" presId="urn:microsoft.com/office/officeart/2005/8/layout/vList5"/>
    <dgm:cxn modelId="{D0AB9AA6-99BC-4F82-883D-D43D7160230C}" type="presParOf" srcId="{5CF5F5EE-0B4A-4725-8C5A-59A6DC466C0F}" destId="{448E619F-34CF-458A-9D94-E673A302CC9F}" srcOrd="1" destOrd="0" presId="urn:microsoft.com/office/officeart/2005/8/layout/vList5"/>
    <dgm:cxn modelId="{8787EC6A-D703-47CE-BAFF-31E33E825D83}" type="presParOf" srcId="{5CF5F5EE-0B4A-4725-8C5A-59A6DC466C0F}" destId="{E38AA7D1-FB74-4503-93CC-C2CAF3031C5A}" srcOrd="2" destOrd="0" presId="urn:microsoft.com/office/officeart/2005/8/layout/vList5"/>
    <dgm:cxn modelId="{85D2F628-F60A-4649-9EFF-AACDBF5FBDFB}" type="presParOf" srcId="{E38AA7D1-FB74-4503-93CC-C2CAF3031C5A}" destId="{E9D78998-541D-4400-B24E-77A0598956DE}" srcOrd="0" destOrd="0" presId="urn:microsoft.com/office/officeart/2005/8/layout/vList5"/>
    <dgm:cxn modelId="{71C8F2DC-6BC5-4CD6-982D-A6560F859E80}" type="presParOf" srcId="{E38AA7D1-FB74-4503-93CC-C2CAF3031C5A}" destId="{C7B3A613-7B1A-4F14-8953-6AF0782C9A0A}" srcOrd="1" destOrd="0" presId="urn:microsoft.com/office/officeart/2005/8/layout/vList5"/>
    <dgm:cxn modelId="{DDD679CA-6793-4772-8B6D-A0E0C142B1AF}" type="presParOf" srcId="{5CF5F5EE-0B4A-4725-8C5A-59A6DC466C0F}" destId="{0F23FA60-9B43-4A2D-A92E-BE0BB852C2B9}" srcOrd="3" destOrd="0" presId="urn:microsoft.com/office/officeart/2005/8/layout/vList5"/>
    <dgm:cxn modelId="{88C49AF9-A391-4FD5-90B6-BAE313AEDE8E}" type="presParOf" srcId="{5CF5F5EE-0B4A-4725-8C5A-59A6DC466C0F}" destId="{403509F2-2231-4E7D-AC41-0A94FCDCE13A}" srcOrd="4" destOrd="0" presId="urn:microsoft.com/office/officeart/2005/8/layout/vList5"/>
    <dgm:cxn modelId="{26BF3971-2F3D-4EC5-AC79-F485866A5E5C}" type="presParOf" srcId="{403509F2-2231-4E7D-AC41-0A94FCDCE13A}" destId="{935DFA29-C3E8-4CB0-9B29-DFACF10BD8DF}" srcOrd="0" destOrd="0" presId="urn:microsoft.com/office/officeart/2005/8/layout/vList5"/>
    <dgm:cxn modelId="{B8C5173F-3033-4F65-8347-253C56327D6A}" type="presParOf" srcId="{403509F2-2231-4E7D-AC41-0A94FCDCE13A}" destId="{E9F8012A-836C-4D5E-B5CF-5245DA27C291}" srcOrd="1" destOrd="0" presId="urn:microsoft.com/office/officeart/2005/8/layout/vList5"/>
    <dgm:cxn modelId="{C1B6DFBE-D9E5-463F-9E90-A3849DB7D885}" type="presParOf" srcId="{5CF5F5EE-0B4A-4725-8C5A-59A6DC466C0F}" destId="{03E1574E-34D7-4BD9-B114-67AC9CFD3480}" srcOrd="5" destOrd="0" presId="urn:microsoft.com/office/officeart/2005/8/layout/vList5"/>
    <dgm:cxn modelId="{C875DCDB-F3E8-4F90-BB53-4989206961F4}" type="presParOf" srcId="{5CF5F5EE-0B4A-4725-8C5A-59A6DC466C0F}" destId="{F4546014-1D56-477C-8959-F860BB727794}" srcOrd="6" destOrd="0" presId="urn:microsoft.com/office/officeart/2005/8/layout/vList5"/>
    <dgm:cxn modelId="{7803A36D-CECD-4775-AC1E-F2CBFD5F1BC4}" type="presParOf" srcId="{F4546014-1D56-477C-8959-F860BB727794}" destId="{086B8B3E-0606-436E-A2D9-F6953373EF94}" srcOrd="0" destOrd="0" presId="urn:microsoft.com/office/officeart/2005/8/layout/vList5"/>
    <dgm:cxn modelId="{027C3218-9665-4EB3-8D34-5EC34156880D}" type="presParOf" srcId="{F4546014-1D56-477C-8959-F860BB727794}" destId="{E08A42E7-8E9F-430A-BC5F-95896E2DEDE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bProcess4" loCatId="process" qsTypeId="urn:microsoft.com/office/officeart/2005/8/quickstyle/simple4" qsCatId="simple" csTypeId="urn:microsoft.com/office/officeart/2005/8/colors/colorful1#76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b="0" noProof="0"/>
            <a:t>Jenkins as build and test executor</a:t>
          </a:r>
          <a:endParaRPr lang="en-US" noProof="0"/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A53EF501-87B2-477F-8DFD-ED38C8960E9C}">
      <dgm:prSet/>
      <dgm:spPr/>
      <dgm:t>
        <a:bodyPr/>
        <a:lstStyle/>
        <a:p>
          <a:pPr rtl="0"/>
          <a:r>
            <a:rPr lang="en-US" b="0" noProof="0"/>
            <a:t>Cost efficient solution</a:t>
          </a:r>
          <a:endParaRPr lang="en-US" noProof="0"/>
        </a:p>
      </dgm:t>
    </dgm:pt>
    <dgm:pt modelId="{EAF68266-29FE-4824-B942-9DC759810C4A}" type="parTrans" cxnId="{70693DBD-4067-4549-9CEC-C8CEA91E634C}">
      <dgm:prSet/>
      <dgm:spPr/>
      <dgm:t>
        <a:bodyPr/>
        <a:lstStyle/>
        <a:p>
          <a:endParaRPr lang="en-US"/>
        </a:p>
      </dgm:t>
    </dgm:pt>
    <dgm:pt modelId="{15C057F1-338E-48A1-884A-61F103539AB1}" type="sibTrans" cxnId="{70693DBD-4067-4549-9CEC-C8CEA91E634C}">
      <dgm:prSet/>
      <dgm:spPr/>
      <dgm:t>
        <a:bodyPr/>
        <a:lstStyle/>
        <a:p>
          <a:endParaRPr lang="en-US"/>
        </a:p>
      </dgm:t>
    </dgm:pt>
    <dgm:pt modelId="{47EFF275-48EC-4FED-B242-0E31BB09BF3B}">
      <dgm:prSet/>
      <dgm:spPr/>
      <dgm:t>
        <a:bodyPr/>
        <a:lstStyle/>
        <a:p>
          <a:pPr rtl="0"/>
          <a:r>
            <a:rPr lang="en-US" noProof="0"/>
            <a:t>Out of the box settings</a:t>
          </a:r>
        </a:p>
      </dgm:t>
    </dgm:pt>
    <dgm:pt modelId="{02AF026A-2BDF-461C-9100-156D9D8530F5}" type="parTrans" cxnId="{AA6860CB-1CF3-43C4-8E4B-E4A60954F150}">
      <dgm:prSet/>
      <dgm:spPr/>
      <dgm:t>
        <a:bodyPr/>
        <a:lstStyle/>
        <a:p>
          <a:endParaRPr lang="en-US"/>
        </a:p>
      </dgm:t>
    </dgm:pt>
    <dgm:pt modelId="{65EA0C69-B3EA-4E48-AC90-C646AEF53CC5}" type="sibTrans" cxnId="{AA6860CB-1CF3-43C4-8E4B-E4A60954F150}">
      <dgm:prSet/>
      <dgm:spPr/>
      <dgm:t>
        <a:bodyPr/>
        <a:lstStyle/>
        <a:p>
          <a:endParaRPr lang="en-US"/>
        </a:p>
      </dgm:t>
    </dgm:pt>
    <dgm:pt modelId="{82437799-EA6B-49C6-8013-9727507F2513}">
      <dgm:prSet/>
      <dgm:spPr/>
      <dgm:t>
        <a:bodyPr/>
        <a:lstStyle/>
        <a:p>
          <a:pPr rtl="0"/>
          <a:r>
            <a:rPr lang="en-US" noProof="0"/>
            <a:t>Example Jenkins jobs</a:t>
          </a:r>
        </a:p>
      </dgm:t>
    </dgm:pt>
    <dgm:pt modelId="{906CA706-C21A-4394-B2BE-F7D2323EC64D}" type="parTrans" cxnId="{0AA62D00-060C-4734-B31E-C36A8384D8E3}">
      <dgm:prSet/>
      <dgm:spPr/>
      <dgm:t>
        <a:bodyPr/>
        <a:lstStyle/>
        <a:p>
          <a:endParaRPr lang="en-US"/>
        </a:p>
      </dgm:t>
    </dgm:pt>
    <dgm:pt modelId="{619083A8-048F-4F27-9D43-F8819B777B70}" type="sibTrans" cxnId="{0AA62D00-060C-4734-B31E-C36A8384D8E3}">
      <dgm:prSet/>
      <dgm:spPr/>
      <dgm:t>
        <a:bodyPr/>
        <a:lstStyle/>
        <a:p>
          <a:endParaRPr lang="en-US"/>
        </a:p>
      </dgm:t>
    </dgm:pt>
    <dgm:pt modelId="{379AEA6F-ADA3-494E-AFDF-6C3E5A55C44C}">
      <dgm:prSet/>
      <dgm:spPr/>
      <dgm:t>
        <a:bodyPr/>
        <a:lstStyle/>
        <a:p>
          <a:pPr rtl="0"/>
          <a:r>
            <a:rPr lang="en-US" noProof="0"/>
            <a:t>Jobs created with „Pipeline as a code” mind set</a:t>
          </a:r>
        </a:p>
      </dgm:t>
    </dgm:pt>
    <dgm:pt modelId="{36C5FC44-B2D2-4436-B563-A97F497CD77E}" type="parTrans" cxnId="{A7820DE0-E604-4E63-B41C-8CA0DE8EF4DA}">
      <dgm:prSet/>
      <dgm:spPr/>
      <dgm:t>
        <a:bodyPr/>
        <a:lstStyle/>
        <a:p>
          <a:endParaRPr lang="en-US"/>
        </a:p>
      </dgm:t>
    </dgm:pt>
    <dgm:pt modelId="{D7AB0556-03E7-4918-8E5F-3D4AE3327CE3}" type="sibTrans" cxnId="{A7820DE0-E604-4E63-B41C-8CA0DE8EF4DA}">
      <dgm:prSet/>
      <dgm:spPr/>
      <dgm:t>
        <a:bodyPr/>
        <a:lstStyle/>
        <a:p>
          <a:endParaRPr lang="en-US"/>
        </a:p>
      </dgm:t>
    </dgm:pt>
    <dgm:pt modelId="{D63516B8-4E07-49C9-8ABA-B72A0534F1CE}">
      <dgm:prSet/>
      <dgm:spPr/>
      <dgm:t>
        <a:bodyPr/>
        <a:lstStyle/>
        <a:p>
          <a:pPr rtl="0"/>
          <a:r>
            <a:rPr lang="en-US" noProof="0"/>
            <a:t>Build dependencies as continers</a:t>
          </a:r>
        </a:p>
      </dgm:t>
    </dgm:pt>
    <dgm:pt modelId="{8DAA020C-5A0D-47D6-BF81-DF34034608F1}" type="parTrans" cxnId="{14FD5F58-8B55-44DD-989E-CBA07B354E3E}">
      <dgm:prSet/>
      <dgm:spPr/>
      <dgm:t>
        <a:bodyPr/>
        <a:lstStyle/>
        <a:p>
          <a:endParaRPr lang="en-US"/>
        </a:p>
      </dgm:t>
    </dgm:pt>
    <dgm:pt modelId="{7FAED47E-417A-4775-8363-C7D344AE2E43}" type="sibTrans" cxnId="{14FD5F58-8B55-44DD-989E-CBA07B354E3E}">
      <dgm:prSet/>
      <dgm:spPr/>
      <dgm:t>
        <a:bodyPr/>
        <a:lstStyle/>
        <a:p>
          <a:endParaRPr lang="en-US"/>
        </a:p>
      </dgm:t>
    </dgm:pt>
    <dgm:pt modelId="{182932C6-7D1A-4241-9333-39B420DED1A2}">
      <dgm:prSet/>
      <dgm:spPr/>
      <dgm:t>
        <a:bodyPr/>
        <a:lstStyle/>
        <a:p>
          <a:pPr rtl="0"/>
          <a:r>
            <a:rPr lang="en-US" noProof="0" dirty="0" err="1"/>
            <a:t>Docker</a:t>
          </a:r>
          <a:r>
            <a:rPr lang="en-US" noProof="0" dirty="0"/>
            <a:t> registry for project </a:t>
          </a:r>
          <a:r>
            <a:rPr lang="en-US" noProof="0" dirty="0" err="1"/>
            <a:t>docker</a:t>
          </a:r>
          <a:r>
            <a:rPr lang="en-US" noProof="0" dirty="0"/>
            <a:t> images </a:t>
          </a:r>
        </a:p>
      </dgm:t>
    </dgm:pt>
    <dgm:pt modelId="{50323191-6292-44E5-82F5-030B98022B05}" type="parTrans" cxnId="{E640801E-37B5-4589-AB61-ACAEF64D6576}">
      <dgm:prSet/>
      <dgm:spPr/>
      <dgm:t>
        <a:bodyPr/>
        <a:lstStyle/>
        <a:p>
          <a:endParaRPr lang="en-US"/>
        </a:p>
      </dgm:t>
    </dgm:pt>
    <dgm:pt modelId="{92049698-0E2F-49BD-9523-22A7ED16FA47}" type="sibTrans" cxnId="{E640801E-37B5-4589-AB61-ACAEF64D6576}">
      <dgm:prSet/>
      <dgm:spPr/>
      <dgm:t>
        <a:bodyPr/>
        <a:lstStyle/>
        <a:p>
          <a:endParaRPr lang="en-US"/>
        </a:p>
      </dgm:t>
    </dgm:pt>
    <dgm:pt modelId="{D7626E7C-1399-4F0A-B7A0-0BE973D736FB}">
      <dgm:prSet/>
      <dgm:spPr/>
      <dgm:t>
        <a:bodyPr/>
        <a:lstStyle/>
        <a:p>
          <a:pPr rtl="0"/>
          <a:r>
            <a:rPr lang="en-US" b="0" noProof="0"/>
            <a:t>Docker Swarm</a:t>
          </a:r>
          <a:endParaRPr lang="en-US" noProof="0"/>
        </a:p>
      </dgm:t>
    </dgm:pt>
    <dgm:pt modelId="{5D0C7E4D-BDFE-40E6-AF43-A956460419A2}" type="parTrans" cxnId="{D377EED1-F261-4D84-85F9-9947D27166D9}">
      <dgm:prSet/>
      <dgm:spPr/>
    </dgm:pt>
    <dgm:pt modelId="{23D9F749-4CB2-4293-A197-0A49F9D4E923}" type="sibTrans" cxnId="{D377EED1-F261-4D84-85F9-9947D27166D9}">
      <dgm:prSet/>
      <dgm:spPr/>
    </dgm:pt>
    <dgm:pt modelId="{D2789845-39F7-4E80-9952-3792859F2946}" type="pres">
      <dgm:prSet presAssocID="{B9C32B05-62EA-407A-B21C-2310C7945705}" presName="Name0" presStyleCnt="0">
        <dgm:presLayoutVars>
          <dgm:dir/>
          <dgm:resizeHandles/>
        </dgm:presLayoutVars>
      </dgm:prSet>
      <dgm:spPr/>
    </dgm:pt>
    <dgm:pt modelId="{35CEF078-22B9-4591-AAE7-DD4312792022}" type="pres">
      <dgm:prSet presAssocID="{42D71409-67F9-455C-8C6D-716D284AAA6B}" presName="compNode" presStyleCnt="0"/>
      <dgm:spPr/>
    </dgm:pt>
    <dgm:pt modelId="{A4D0C40F-1A68-41FE-8E62-53A4D39E3099}" type="pres">
      <dgm:prSet presAssocID="{42D71409-67F9-455C-8C6D-716D284AAA6B}" presName="dummyConnPt" presStyleCnt="0"/>
      <dgm:spPr/>
    </dgm:pt>
    <dgm:pt modelId="{398CD0D4-8817-435E-B34C-8F504BBCDC84}" type="pres">
      <dgm:prSet presAssocID="{42D71409-67F9-455C-8C6D-716D284AAA6B}" presName="node" presStyleLbl="node1" presStyleIdx="0" presStyleCnt="7">
        <dgm:presLayoutVars>
          <dgm:bulletEnabled val="1"/>
        </dgm:presLayoutVars>
      </dgm:prSet>
      <dgm:spPr/>
    </dgm:pt>
    <dgm:pt modelId="{598249C3-4A73-4D5F-9305-861CF5E59FF8}" type="pres">
      <dgm:prSet presAssocID="{478B7D3C-9FB4-4BC6-90AC-49960560DECD}" presName="sibTrans" presStyleLbl="bgSibTrans2D1" presStyleIdx="0" presStyleCnt="6"/>
      <dgm:spPr/>
    </dgm:pt>
    <dgm:pt modelId="{3F591823-8E37-4476-9B21-BFCCC2B2F297}" type="pres">
      <dgm:prSet presAssocID="{A53EF501-87B2-477F-8DFD-ED38C8960E9C}" presName="compNode" presStyleCnt="0"/>
      <dgm:spPr/>
    </dgm:pt>
    <dgm:pt modelId="{D08E96BC-D89B-408C-B5F7-94D65B2C73E5}" type="pres">
      <dgm:prSet presAssocID="{A53EF501-87B2-477F-8DFD-ED38C8960E9C}" presName="dummyConnPt" presStyleCnt="0"/>
      <dgm:spPr/>
    </dgm:pt>
    <dgm:pt modelId="{01102A76-6F72-459D-B4E6-D46E0481D375}" type="pres">
      <dgm:prSet presAssocID="{A53EF501-87B2-477F-8DFD-ED38C8960E9C}" presName="node" presStyleLbl="node1" presStyleIdx="1" presStyleCnt="7">
        <dgm:presLayoutVars>
          <dgm:bulletEnabled val="1"/>
        </dgm:presLayoutVars>
      </dgm:prSet>
      <dgm:spPr/>
    </dgm:pt>
    <dgm:pt modelId="{956E9397-20FE-42F1-8665-141C7AFA1AF7}" type="pres">
      <dgm:prSet presAssocID="{15C057F1-338E-48A1-884A-61F103539AB1}" presName="sibTrans" presStyleLbl="bgSibTrans2D1" presStyleIdx="1" presStyleCnt="6"/>
      <dgm:spPr/>
    </dgm:pt>
    <dgm:pt modelId="{5677F76B-9333-425E-BC35-0C4D7E6686E6}" type="pres">
      <dgm:prSet presAssocID="{47EFF275-48EC-4FED-B242-0E31BB09BF3B}" presName="compNode" presStyleCnt="0"/>
      <dgm:spPr/>
    </dgm:pt>
    <dgm:pt modelId="{3870566B-117B-4E1E-AB8F-F441D5BE9A12}" type="pres">
      <dgm:prSet presAssocID="{47EFF275-48EC-4FED-B242-0E31BB09BF3B}" presName="dummyConnPt" presStyleCnt="0"/>
      <dgm:spPr/>
    </dgm:pt>
    <dgm:pt modelId="{885728F8-782E-46C1-A1C9-F051C6EA8A4D}" type="pres">
      <dgm:prSet presAssocID="{47EFF275-48EC-4FED-B242-0E31BB09BF3B}" presName="node" presStyleLbl="node1" presStyleIdx="2" presStyleCnt="7">
        <dgm:presLayoutVars>
          <dgm:bulletEnabled val="1"/>
        </dgm:presLayoutVars>
      </dgm:prSet>
      <dgm:spPr/>
    </dgm:pt>
    <dgm:pt modelId="{EC830D6E-8491-452E-BC8E-448308E85EE0}" type="pres">
      <dgm:prSet presAssocID="{65EA0C69-B3EA-4E48-AC90-C646AEF53CC5}" presName="sibTrans" presStyleLbl="bgSibTrans2D1" presStyleIdx="2" presStyleCnt="6"/>
      <dgm:spPr/>
    </dgm:pt>
    <dgm:pt modelId="{F6F838E5-3C55-491B-95F9-D08F1558F982}" type="pres">
      <dgm:prSet presAssocID="{82437799-EA6B-49C6-8013-9727507F2513}" presName="compNode" presStyleCnt="0"/>
      <dgm:spPr/>
    </dgm:pt>
    <dgm:pt modelId="{516B9B0F-37A1-490D-B212-4E24BECED11F}" type="pres">
      <dgm:prSet presAssocID="{82437799-EA6B-49C6-8013-9727507F2513}" presName="dummyConnPt" presStyleCnt="0"/>
      <dgm:spPr/>
    </dgm:pt>
    <dgm:pt modelId="{5DEF5627-F5E5-4777-8AE4-AD7822E663F2}" type="pres">
      <dgm:prSet presAssocID="{82437799-EA6B-49C6-8013-9727507F2513}" presName="node" presStyleLbl="node1" presStyleIdx="3" presStyleCnt="7">
        <dgm:presLayoutVars>
          <dgm:bulletEnabled val="1"/>
        </dgm:presLayoutVars>
      </dgm:prSet>
      <dgm:spPr/>
    </dgm:pt>
    <dgm:pt modelId="{AD405285-37E4-4B89-897C-88E45161E774}" type="pres">
      <dgm:prSet presAssocID="{619083A8-048F-4F27-9D43-F8819B777B70}" presName="sibTrans" presStyleLbl="bgSibTrans2D1" presStyleIdx="3" presStyleCnt="6"/>
      <dgm:spPr/>
    </dgm:pt>
    <dgm:pt modelId="{56FE83D9-A4F7-4EE9-8B3A-858F3DF327B4}" type="pres">
      <dgm:prSet presAssocID="{379AEA6F-ADA3-494E-AFDF-6C3E5A55C44C}" presName="compNode" presStyleCnt="0"/>
      <dgm:spPr/>
    </dgm:pt>
    <dgm:pt modelId="{565EDCC5-4F4F-4FF8-BD29-8FABFC2DE8A8}" type="pres">
      <dgm:prSet presAssocID="{379AEA6F-ADA3-494E-AFDF-6C3E5A55C44C}" presName="dummyConnPt" presStyleCnt="0"/>
      <dgm:spPr/>
    </dgm:pt>
    <dgm:pt modelId="{F591465C-9BC8-404A-B08C-4E28FF51A00D}" type="pres">
      <dgm:prSet presAssocID="{379AEA6F-ADA3-494E-AFDF-6C3E5A55C44C}" presName="node" presStyleLbl="node1" presStyleIdx="4" presStyleCnt="7">
        <dgm:presLayoutVars>
          <dgm:bulletEnabled val="1"/>
        </dgm:presLayoutVars>
      </dgm:prSet>
      <dgm:spPr/>
    </dgm:pt>
    <dgm:pt modelId="{97DABAC9-DD52-4CC2-8A05-7E822617B84C}" type="pres">
      <dgm:prSet presAssocID="{D7AB0556-03E7-4918-8E5F-3D4AE3327CE3}" presName="sibTrans" presStyleLbl="bgSibTrans2D1" presStyleIdx="4" presStyleCnt="6"/>
      <dgm:spPr/>
    </dgm:pt>
    <dgm:pt modelId="{A7B0D29D-99F1-4B22-9DB5-572FE300A376}" type="pres">
      <dgm:prSet presAssocID="{D63516B8-4E07-49C9-8ABA-B72A0534F1CE}" presName="compNode" presStyleCnt="0"/>
      <dgm:spPr/>
    </dgm:pt>
    <dgm:pt modelId="{08360A24-E62E-4EE1-8AEE-0EF9C4D049FB}" type="pres">
      <dgm:prSet presAssocID="{D63516B8-4E07-49C9-8ABA-B72A0534F1CE}" presName="dummyConnPt" presStyleCnt="0"/>
      <dgm:spPr/>
    </dgm:pt>
    <dgm:pt modelId="{03E5E8B8-5EA6-4BCA-B8AA-6F66A64296CD}" type="pres">
      <dgm:prSet presAssocID="{D63516B8-4E07-49C9-8ABA-B72A0534F1CE}" presName="node" presStyleLbl="node1" presStyleIdx="5" presStyleCnt="7">
        <dgm:presLayoutVars>
          <dgm:bulletEnabled val="1"/>
        </dgm:presLayoutVars>
      </dgm:prSet>
      <dgm:spPr/>
    </dgm:pt>
    <dgm:pt modelId="{06893624-3A37-4B62-8C7F-A82C8A11690F}" type="pres">
      <dgm:prSet presAssocID="{7FAED47E-417A-4775-8363-C7D344AE2E43}" presName="sibTrans" presStyleLbl="bgSibTrans2D1" presStyleIdx="5" presStyleCnt="6"/>
      <dgm:spPr/>
    </dgm:pt>
    <dgm:pt modelId="{0BC3F9D4-E19C-468E-881C-C9B7927D1AAD}" type="pres">
      <dgm:prSet presAssocID="{182932C6-7D1A-4241-9333-39B420DED1A2}" presName="compNode" presStyleCnt="0"/>
      <dgm:spPr/>
    </dgm:pt>
    <dgm:pt modelId="{D559D4F6-B650-458E-824B-9307B712EBEF}" type="pres">
      <dgm:prSet presAssocID="{182932C6-7D1A-4241-9333-39B420DED1A2}" presName="dummyConnPt" presStyleCnt="0"/>
      <dgm:spPr/>
    </dgm:pt>
    <dgm:pt modelId="{38193E3E-BBFE-4D6F-9FCF-5E938A1F66A3}" type="pres">
      <dgm:prSet presAssocID="{182932C6-7D1A-4241-9333-39B420DED1A2}" presName="node" presStyleLbl="node1" presStyleIdx="6" presStyleCnt="7">
        <dgm:presLayoutVars>
          <dgm:bulletEnabled val="1"/>
        </dgm:presLayoutVars>
      </dgm:prSet>
      <dgm:spPr/>
    </dgm:pt>
  </dgm:ptLst>
  <dgm:cxnLst>
    <dgm:cxn modelId="{0AA62D00-060C-4734-B31E-C36A8384D8E3}" srcId="{B9C32B05-62EA-407A-B21C-2310C7945705}" destId="{82437799-EA6B-49C6-8013-9727507F2513}" srcOrd="3" destOrd="0" parTransId="{906CA706-C21A-4394-B2BE-F7D2323EC64D}" sibTransId="{619083A8-048F-4F27-9D43-F8819B777B70}"/>
    <dgm:cxn modelId="{E640801E-37B5-4589-AB61-ACAEF64D6576}" srcId="{B9C32B05-62EA-407A-B21C-2310C7945705}" destId="{182932C6-7D1A-4241-9333-39B420DED1A2}" srcOrd="6" destOrd="0" parTransId="{50323191-6292-44E5-82F5-030B98022B05}" sibTransId="{92049698-0E2F-49BD-9523-22A7ED16FA47}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B3ECD1F-B4E4-4BF4-8E96-7816872A58F8}" type="presOf" srcId="{15C057F1-338E-48A1-884A-61F103539AB1}" destId="{956E9397-20FE-42F1-8665-141C7AFA1AF7}" srcOrd="0" destOrd="0" presId="urn:microsoft.com/office/officeart/2005/8/layout/bProcess4"/>
    <dgm:cxn modelId="{D16AE529-4989-4012-AEF4-7C3E2938960E}" type="presOf" srcId="{379AEA6F-ADA3-494E-AFDF-6C3E5A55C44C}" destId="{F591465C-9BC8-404A-B08C-4E28FF51A00D}" srcOrd="0" destOrd="0" presId="urn:microsoft.com/office/officeart/2005/8/layout/bProcess4"/>
    <dgm:cxn modelId="{81FFD847-7830-4BED-8919-EB2C607DFD1F}" type="presOf" srcId="{42D71409-67F9-455C-8C6D-716D284AAA6B}" destId="{398CD0D4-8817-435E-B34C-8F504BBCDC84}" srcOrd="0" destOrd="0" presId="urn:microsoft.com/office/officeart/2005/8/layout/bProcess4"/>
    <dgm:cxn modelId="{29FB9448-88DB-4985-A36B-056A05C48508}" type="presOf" srcId="{D7AB0556-03E7-4918-8E5F-3D4AE3327CE3}" destId="{97DABAC9-DD52-4CC2-8A05-7E822617B84C}" srcOrd="0" destOrd="0" presId="urn:microsoft.com/office/officeart/2005/8/layout/bProcess4"/>
    <dgm:cxn modelId="{2F9AC650-900E-45DE-9805-8B23EAA08737}" type="presOf" srcId="{65EA0C69-B3EA-4E48-AC90-C646AEF53CC5}" destId="{EC830D6E-8491-452E-BC8E-448308E85EE0}" srcOrd="0" destOrd="0" presId="urn:microsoft.com/office/officeart/2005/8/layout/bProcess4"/>
    <dgm:cxn modelId="{69B14872-8FC7-4F8D-B5F4-4DEC3800B493}" type="presOf" srcId="{D63516B8-4E07-49C9-8ABA-B72A0534F1CE}" destId="{03E5E8B8-5EA6-4BCA-B8AA-6F66A64296CD}" srcOrd="0" destOrd="0" presId="urn:microsoft.com/office/officeart/2005/8/layout/bProcess4"/>
    <dgm:cxn modelId="{E9DA9156-7E9A-4539-B64B-333B16D8C8DC}" type="presOf" srcId="{478B7D3C-9FB4-4BC6-90AC-49960560DECD}" destId="{598249C3-4A73-4D5F-9305-861CF5E59FF8}" srcOrd="0" destOrd="0" presId="urn:microsoft.com/office/officeart/2005/8/layout/bProcess4"/>
    <dgm:cxn modelId="{14FD5F58-8B55-44DD-989E-CBA07B354E3E}" srcId="{B9C32B05-62EA-407A-B21C-2310C7945705}" destId="{D63516B8-4E07-49C9-8ABA-B72A0534F1CE}" srcOrd="5" destOrd="0" parTransId="{8DAA020C-5A0D-47D6-BF81-DF34034608F1}" sibTransId="{7FAED47E-417A-4775-8363-C7D344AE2E43}"/>
    <dgm:cxn modelId="{24BFFE85-4926-44CE-8391-567897DE9C40}" type="presOf" srcId="{47EFF275-48EC-4FED-B242-0E31BB09BF3B}" destId="{885728F8-782E-46C1-A1C9-F051C6EA8A4D}" srcOrd="0" destOrd="0" presId="urn:microsoft.com/office/officeart/2005/8/layout/bProcess4"/>
    <dgm:cxn modelId="{483EF286-0789-4504-885F-4A7378D36989}" type="presOf" srcId="{182932C6-7D1A-4241-9333-39B420DED1A2}" destId="{38193E3E-BBFE-4D6F-9FCF-5E938A1F66A3}" srcOrd="0" destOrd="0" presId="urn:microsoft.com/office/officeart/2005/8/layout/bProcess4"/>
    <dgm:cxn modelId="{D5B15F89-556A-482B-A45B-B52B8B19EF8B}" type="presOf" srcId="{B9C32B05-62EA-407A-B21C-2310C7945705}" destId="{D2789845-39F7-4E80-9952-3792859F2946}" srcOrd="0" destOrd="0" presId="urn:microsoft.com/office/officeart/2005/8/layout/bProcess4"/>
    <dgm:cxn modelId="{8FAB798B-CDAF-402D-85CB-4CD9330008FB}" type="presOf" srcId="{7FAED47E-417A-4775-8363-C7D344AE2E43}" destId="{06893624-3A37-4B62-8C7F-A82C8A11690F}" srcOrd="0" destOrd="0" presId="urn:microsoft.com/office/officeart/2005/8/layout/bProcess4"/>
    <dgm:cxn modelId="{20367EB5-22B3-4E1A-92E6-D6D42E1B6810}" type="presOf" srcId="{619083A8-048F-4F27-9D43-F8819B777B70}" destId="{AD405285-37E4-4B89-897C-88E45161E774}" srcOrd="0" destOrd="0" presId="urn:microsoft.com/office/officeart/2005/8/layout/bProcess4"/>
    <dgm:cxn modelId="{70693DBD-4067-4549-9CEC-C8CEA91E634C}" srcId="{B9C32B05-62EA-407A-B21C-2310C7945705}" destId="{A53EF501-87B2-477F-8DFD-ED38C8960E9C}" srcOrd="1" destOrd="0" parTransId="{EAF68266-29FE-4824-B942-9DC759810C4A}" sibTransId="{15C057F1-338E-48A1-884A-61F103539AB1}"/>
    <dgm:cxn modelId="{AA6860CB-1CF3-43C4-8E4B-E4A60954F150}" srcId="{B9C32B05-62EA-407A-B21C-2310C7945705}" destId="{47EFF275-48EC-4FED-B242-0E31BB09BF3B}" srcOrd="2" destOrd="0" parTransId="{02AF026A-2BDF-461C-9100-156D9D8530F5}" sibTransId="{65EA0C69-B3EA-4E48-AC90-C646AEF53CC5}"/>
    <dgm:cxn modelId="{F4BB85CF-D8B9-420F-8131-216F79696D85}" type="presOf" srcId="{A53EF501-87B2-477F-8DFD-ED38C8960E9C}" destId="{01102A76-6F72-459D-B4E6-D46E0481D375}" srcOrd="0" destOrd="0" presId="urn:microsoft.com/office/officeart/2005/8/layout/bProcess4"/>
    <dgm:cxn modelId="{D377EED1-F261-4D84-85F9-9947D27166D9}" srcId="{A53EF501-87B2-477F-8DFD-ED38C8960E9C}" destId="{D7626E7C-1399-4F0A-B7A0-0BE973D736FB}" srcOrd="0" destOrd="0" parTransId="{5D0C7E4D-BDFE-40E6-AF43-A956460419A2}" sibTransId="{23D9F749-4CB2-4293-A197-0A49F9D4E923}"/>
    <dgm:cxn modelId="{130CC5D8-B26E-426A-92D5-7CBC2955A3D8}" type="presOf" srcId="{82437799-EA6B-49C6-8013-9727507F2513}" destId="{5DEF5627-F5E5-4777-8AE4-AD7822E663F2}" srcOrd="0" destOrd="0" presId="urn:microsoft.com/office/officeart/2005/8/layout/bProcess4"/>
    <dgm:cxn modelId="{A7820DE0-E604-4E63-B41C-8CA0DE8EF4DA}" srcId="{B9C32B05-62EA-407A-B21C-2310C7945705}" destId="{379AEA6F-ADA3-494E-AFDF-6C3E5A55C44C}" srcOrd="4" destOrd="0" parTransId="{36C5FC44-B2D2-4436-B563-A97F497CD77E}" sibTransId="{D7AB0556-03E7-4918-8E5F-3D4AE3327CE3}"/>
    <dgm:cxn modelId="{218DC0F4-D383-4699-A9AE-E9BE4E6A777A}" type="presOf" srcId="{D7626E7C-1399-4F0A-B7A0-0BE973D736FB}" destId="{01102A76-6F72-459D-B4E6-D46E0481D375}" srcOrd="0" destOrd="1" presId="urn:microsoft.com/office/officeart/2005/8/layout/bProcess4"/>
    <dgm:cxn modelId="{DDFE00DC-8144-4CEF-A991-846DE369142E}" type="presParOf" srcId="{D2789845-39F7-4E80-9952-3792859F2946}" destId="{35CEF078-22B9-4591-AAE7-DD4312792022}" srcOrd="0" destOrd="0" presId="urn:microsoft.com/office/officeart/2005/8/layout/bProcess4"/>
    <dgm:cxn modelId="{5E1557A3-C761-4AD9-978D-3B1C40FA12D4}" type="presParOf" srcId="{35CEF078-22B9-4591-AAE7-DD4312792022}" destId="{A4D0C40F-1A68-41FE-8E62-53A4D39E3099}" srcOrd="0" destOrd="0" presId="urn:microsoft.com/office/officeart/2005/8/layout/bProcess4"/>
    <dgm:cxn modelId="{F74865AA-C3EB-4D2D-B967-6F947A1D40CA}" type="presParOf" srcId="{35CEF078-22B9-4591-AAE7-DD4312792022}" destId="{398CD0D4-8817-435E-B34C-8F504BBCDC84}" srcOrd="1" destOrd="0" presId="urn:microsoft.com/office/officeart/2005/8/layout/bProcess4"/>
    <dgm:cxn modelId="{B407FDC6-2DEF-4E84-8847-8F1CE1A5F20A}" type="presParOf" srcId="{D2789845-39F7-4E80-9952-3792859F2946}" destId="{598249C3-4A73-4D5F-9305-861CF5E59FF8}" srcOrd="1" destOrd="0" presId="urn:microsoft.com/office/officeart/2005/8/layout/bProcess4"/>
    <dgm:cxn modelId="{244BD034-CAC2-4BD7-BDC4-8CBB4D2DEA4C}" type="presParOf" srcId="{D2789845-39F7-4E80-9952-3792859F2946}" destId="{3F591823-8E37-4476-9B21-BFCCC2B2F297}" srcOrd="2" destOrd="0" presId="urn:microsoft.com/office/officeart/2005/8/layout/bProcess4"/>
    <dgm:cxn modelId="{8DDE4DA5-8260-43CD-BD55-793C3C3D61CE}" type="presParOf" srcId="{3F591823-8E37-4476-9B21-BFCCC2B2F297}" destId="{D08E96BC-D89B-408C-B5F7-94D65B2C73E5}" srcOrd="0" destOrd="0" presId="urn:microsoft.com/office/officeart/2005/8/layout/bProcess4"/>
    <dgm:cxn modelId="{9FC5FE52-7E62-4E00-B7D5-69F20DD0741B}" type="presParOf" srcId="{3F591823-8E37-4476-9B21-BFCCC2B2F297}" destId="{01102A76-6F72-459D-B4E6-D46E0481D375}" srcOrd="1" destOrd="0" presId="urn:microsoft.com/office/officeart/2005/8/layout/bProcess4"/>
    <dgm:cxn modelId="{F430240A-FF00-4827-84E6-7BE83D222DD8}" type="presParOf" srcId="{D2789845-39F7-4E80-9952-3792859F2946}" destId="{956E9397-20FE-42F1-8665-141C7AFA1AF7}" srcOrd="3" destOrd="0" presId="urn:microsoft.com/office/officeart/2005/8/layout/bProcess4"/>
    <dgm:cxn modelId="{DAF013E0-1199-49B3-8ED7-72DF9552907C}" type="presParOf" srcId="{D2789845-39F7-4E80-9952-3792859F2946}" destId="{5677F76B-9333-425E-BC35-0C4D7E6686E6}" srcOrd="4" destOrd="0" presId="urn:microsoft.com/office/officeart/2005/8/layout/bProcess4"/>
    <dgm:cxn modelId="{93AC2A6A-633E-422A-807F-B9F80E2C3F76}" type="presParOf" srcId="{5677F76B-9333-425E-BC35-0C4D7E6686E6}" destId="{3870566B-117B-4E1E-AB8F-F441D5BE9A12}" srcOrd="0" destOrd="0" presId="urn:microsoft.com/office/officeart/2005/8/layout/bProcess4"/>
    <dgm:cxn modelId="{EB5C08D2-1A19-4499-93D4-7005DAAFC08C}" type="presParOf" srcId="{5677F76B-9333-425E-BC35-0C4D7E6686E6}" destId="{885728F8-782E-46C1-A1C9-F051C6EA8A4D}" srcOrd="1" destOrd="0" presId="urn:microsoft.com/office/officeart/2005/8/layout/bProcess4"/>
    <dgm:cxn modelId="{D1E3813F-6989-4F82-976D-4038D27FCC09}" type="presParOf" srcId="{D2789845-39F7-4E80-9952-3792859F2946}" destId="{EC830D6E-8491-452E-BC8E-448308E85EE0}" srcOrd="5" destOrd="0" presId="urn:microsoft.com/office/officeart/2005/8/layout/bProcess4"/>
    <dgm:cxn modelId="{E3FC5833-8C86-4BDF-B83F-3BBCF9429FC2}" type="presParOf" srcId="{D2789845-39F7-4E80-9952-3792859F2946}" destId="{F6F838E5-3C55-491B-95F9-D08F1558F982}" srcOrd="6" destOrd="0" presId="urn:microsoft.com/office/officeart/2005/8/layout/bProcess4"/>
    <dgm:cxn modelId="{77275E49-9904-4230-9875-E76C1C0592DD}" type="presParOf" srcId="{F6F838E5-3C55-491B-95F9-D08F1558F982}" destId="{516B9B0F-37A1-490D-B212-4E24BECED11F}" srcOrd="0" destOrd="0" presId="urn:microsoft.com/office/officeart/2005/8/layout/bProcess4"/>
    <dgm:cxn modelId="{7000A799-882D-4B4F-9C79-32BCE24403B4}" type="presParOf" srcId="{F6F838E5-3C55-491B-95F9-D08F1558F982}" destId="{5DEF5627-F5E5-4777-8AE4-AD7822E663F2}" srcOrd="1" destOrd="0" presId="urn:microsoft.com/office/officeart/2005/8/layout/bProcess4"/>
    <dgm:cxn modelId="{24D92E74-2D52-400A-AB61-A22187C98929}" type="presParOf" srcId="{D2789845-39F7-4E80-9952-3792859F2946}" destId="{AD405285-37E4-4B89-897C-88E45161E774}" srcOrd="7" destOrd="0" presId="urn:microsoft.com/office/officeart/2005/8/layout/bProcess4"/>
    <dgm:cxn modelId="{7B604E29-18B5-41D8-B2AB-C41DEC96B44D}" type="presParOf" srcId="{D2789845-39F7-4E80-9952-3792859F2946}" destId="{56FE83D9-A4F7-4EE9-8B3A-858F3DF327B4}" srcOrd="8" destOrd="0" presId="urn:microsoft.com/office/officeart/2005/8/layout/bProcess4"/>
    <dgm:cxn modelId="{94D53B17-F796-497E-B550-9E37A0827C3A}" type="presParOf" srcId="{56FE83D9-A4F7-4EE9-8B3A-858F3DF327B4}" destId="{565EDCC5-4F4F-4FF8-BD29-8FABFC2DE8A8}" srcOrd="0" destOrd="0" presId="urn:microsoft.com/office/officeart/2005/8/layout/bProcess4"/>
    <dgm:cxn modelId="{3084FCE0-539F-44AD-84A2-953608DD2230}" type="presParOf" srcId="{56FE83D9-A4F7-4EE9-8B3A-858F3DF327B4}" destId="{F591465C-9BC8-404A-B08C-4E28FF51A00D}" srcOrd="1" destOrd="0" presId="urn:microsoft.com/office/officeart/2005/8/layout/bProcess4"/>
    <dgm:cxn modelId="{AD156A31-A527-4BFC-89DE-82BFBF7B74C2}" type="presParOf" srcId="{D2789845-39F7-4E80-9952-3792859F2946}" destId="{97DABAC9-DD52-4CC2-8A05-7E822617B84C}" srcOrd="9" destOrd="0" presId="urn:microsoft.com/office/officeart/2005/8/layout/bProcess4"/>
    <dgm:cxn modelId="{919F0747-9CC9-41A1-B720-29F37E963D7D}" type="presParOf" srcId="{D2789845-39F7-4E80-9952-3792859F2946}" destId="{A7B0D29D-99F1-4B22-9DB5-572FE300A376}" srcOrd="10" destOrd="0" presId="urn:microsoft.com/office/officeart/2005/8/layout/bProcess4"/>
    <dgm:cxn modelId="{03DF0472-0582-4310-A353-460E6D3A7CF0}" type="presParOf" srcId="{A7B0D29D-99F1-4B22-9DB5-572FE300A376}" destId="{08360A24-E62E-4EE1-8AEE-0EF9C4D049FB}" srcOrd="0" destOrd="0" presId="urn:microsoft.com/office/officeart/2005/8/layout/bProcess4"/>
    <dgm:cxn modelId="{5445CC56-801F-4767-9DF5-11BFD484A32A}" type="presParOf" srcId="{A7B0D29D-99F1-4B22-9DB5-572FE300A376}" destId="{03E5E8B8-5EA6-4BCA-B8AA-6F66A64296CD}" srcOrd="1" destOrd="0" presId="urn:microsoft.com/office/officeart/2005/8/layout/bProcess4"/>
    <dgm:cxn modelId="{89BC3470-B3A6-47B2-9D6C-4C1696E41213}" type="presParOf" srcId="{D2789845-39F7-4E80-9952-3792859F2946}" destId="{06893624-3A37-4B62-8C7F-A82C8A11690F}" srcOrd="11" destOrd="0" presId="urn:microsoft.com/office/officeart/2005/8/layout/bProcess4"/>
    <dgm:cxn modelId="{98B3058D-E6FE-407F-B803-7DD2AF38EDD2}" type="presParOf" srcId="{D2789845-39F7-4E80-9952-3792859F2946}" destId="{0BC3F9D4-E19C-468E-881C-C9B7927D1AAD}" srcOrd="12" destOrd="0" presId="urn:microsoft.com/office/officeart/2005/8/layout/bProcess4"/>
    <dgm:cxn modelId="{503A1E00-96EE-46F1-92BE-E86AF054A93D}" type="presParOf" srcId="{0BC3F9D4-E19C-468E-881C-C9B7927D1AAD}" destId="{D559D4F6-B650-458E-824B-9307B712EBEF}" srcOrd="0" destOrd="0" presId="urn:microsoft.com/office/officeart/2005/8/layout/bProcess4"/>
    <dgm:cxn modelId="{F3EC1BB0-90B2-4E18-91DC-CF785F52C2E9}" type="presParOf" srcId="{0BC3F9D4-E19C-468E-881C-C9B7927D1AAD}" destId="{38193E3E-BBFE-4D6F-9FCF-5E938A1F66A3}" srcOrd="1" destOrd="0" presId="urn:microsoft.com/office/officeart/2005/8/layout/bProcess4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architecture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/>
            <a:t>Database module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09BA98DE-DEC2-4D0D-8490-D3297BBF0088}">
      <dgm:prSet phldrT="[Text]"/>
      <dgm:spPr>
        <a:ln w="28575">
          <a:solidFill>
            <a:schemeClr val="tx1"/>
          </a:solidFill>
        </a:ln>
      </dgm:spPr>
      <dgm:t>
        <a:bodyPr/>
        <a:lstStyle/>
        <a:p>
          <a:r>
            <a:rPr lang="en-US" noProof="0"/>
            <a:t>WebAPI module</a:t>
          </a:r>
        </a:p>
      </dgm:t>
    </dgm:pt>
    <dgm:pt modelId="{8E89657A-9899-4663-8EBD-CE951A955DD5}" type="parTrans" cxnId="{B74A69C1-DB0A-4823-ABB8-FD9F97D1DF87}">
      <dgm:prSet/>
      <dgm:spPr/>
      <dgm:t>
        <a:bodyPr/>
        <a:lstStyle/>
        <a:p>
          <a:endParaRPr lang="en-US"/>
        </a:p>
      </dgm:t>
    </dgm:pt>
    <dgm:pt modelId="{D9604DA3-0B95-413D-AA9C-D75798C0FF52}" type="sibTrans" cxnId="{B74A69C1-DB0A-4823-ABB8-FD9F97D1DF87}">
      <dgm:prSet/>
      <dgm:spPr/>
      <dgm:t>
        <a:bodyPr/>
        <a:lstStyle/>
        <a:p>
          <a:endParaRPr lang="en-US"/>
        </a:p>
      </dgm:t>
    </dgm:pt>
    <dgm:pt modelId="{A7376EC0-5FEA-48A4-B284-B453C867CA4F}">
      <dgm:prSet phldrT="[Text]"/>
      <dgm:spPr>
        <a:ln w="28575">
          <a:noFill/>
        </a:ln>
      </dgm:spPr>
      <dgm:t>
        <a:bodyPr/>
        <a:lstStyle/>
        <a:p>
          <a:r>
            <a:rPr lang="en-US" noProof="0"/>
            <a:t>UI (Selenium) module</a:t>
          </a:r>
        </a:p>
      </dgm:t>
    </dgm:pt>
    <dgm:pt modelId="{D8387D70-E1F9-4B42-8EE4-B3BED889F64B}" type="parTrans" cxnId="{AC431E10-8495-40FC-AE68-1DE0241390B0}">
      <dgm:prSet/>
      <dgm:spPr/>
      <dgm:t>
        <a:bodyPr/>
        <a:lstStyle/>
        <a:p>
          <a:endParaRPr lang="en-US"/>
        </a:p>
      </dgm:t>
    </dgm:pt>
    <dgm:pt modelId="{620F1AE9-67A6-43E4-8D4E-A7556D36F8F8}" type="sibTrans" cxnId="{AC431E10-8495-40FC-AE68-1DE0241390B0}">
      <dgm:prSet/>
      <dgm:spPr/>
      <dgm:t>
        <a:bodyPr/>
        <a:lstStyle/>
        <a:p>
          <a:endParaRPr lang="en-US"/>
        </a:p>
      </dgm:t>
    </dgm:pt>
    <dgm:pt modelId="{2292288B-8B39-49F2-9CA8-9AFCD7CDA712}">
      <dgm:prSet phldrT="[Text]"/>
      <dgm:spPr/>
      <dgm:t>
        <a:bodyPr/>
        <a:lstStyle/>
        <a:p>
          <a:r>
            <a:rPr lang="en-US" noProof="0"/>
            <a:t>Selenium Grid</a:t>
          </a:r>
        </a:p>
      </dgm:t>
    </dgm:pt>
    <dgm:pt modelId="{01D0AB0F-E732-41F9-9D62-3B8C4434DC42}" type="parTrans" cxnId="{01735BA0-2B36-41EC-BFC0-0CCFA7ACD053}">
      <dgm:prSet/>
      <dgm:spPr/>
      <dgm:t>
        <a:bodyPr/>
        <a:lstStyle/>
        <a:p>
          <a:endParaRPr lang="en-US"/>
        </a:p>
      </dgm:t>
    </dgm:pt>
    <dgm:pt modelId="{572C2FA6-B61B-4B7E-9BE2-BE1757364927}" type="sibTrans" cxnId="{01735BA0-2B36-41EC-BFC0-0CCFA7ACD053}">
      <dgm:prSet/>
      <dgm:spPr/>
      <dgm:t>
        <a:bodyPr/>
        <a:lstStyle/>
        <a:p>
          <a:endParaRPr lang="en-US"/>
        </a:p>
      </dgm:t>
    </dgm:pt>
    <dgm:pt modelId="{589892E1-7E9A-4ED2-9A00-ECF59CD9E4E2}">
      <dgm:prSet phldrT="[Text]"/>
      <dgm:spPr/>
      <dgm:t>
        <a:bodyPr/>
        <a:lstStyle/>
        <a:p>
          <a:r>
            <a:rPr lang="en-US" noProof="0" dirty="0"/>
            <a:t>Mobile (</a:t>
          </a:r>
          <a:r>
            <a:rPr lang="en-US" noProof="0" dirty="0" err="1"/>
            <a:t>Appium</a:t>
          </a:r>
          <a:r>
            <a:rPr lang="en-US" noProof="0" dirty="0"/>
            <a:t>) app</a:t>
          </a:r>
          <a:r>
            <a:rPr lang="pl-PL" noProof="0" dirty="0"/>
            <a:t> *</a:t>
          </a:r>
          <a:endParaRPr lang="en-US" noProof="0" dirty="0"/>
        </a:p>
      </dgm:t>
    </dgm:pt>
    <dgm:pt modelId="{6298D63F-CF36-4C9A-B1AF-B6EC065B8542}" type="parTrans" cxnId="{D68E50A4-4DE3-4F5D-92C6-F68E47329EAA}">
      <dgm:prSet/>
      <dgm:spPr/>
      <dgm:t>
        <a:bodyPr/>
        <a:lstStyle/>
        <a:p>
          <a:endParaRPr lang="en-US"/>
        </a:p>
      </dgm:t>
    </dgm:pt>
    <dgm:pt modelId="{6E27F27E-66F1-4C1C-AB5B-DE1A342F5B80}" type="sibTrans" cxnId="{D68E50A4-4DE3-4F5D-92C6-F68E47329EAA}">
      <dgm:prSet/>
      <dgm:spPr/>
      <dgm:t>
        <a:bodyPr/>
        <a:lstStyle/>
        <a:p>
          <a:endParaRPr lang="en-US"/>
        </a:p>
      </dgm:t>
    </dgm:pt>
    <dgm:pt modelId="{6B9937D0-C50E-45C2-B4B1-863E69FCB5B1}">
      <dgm:prSet phldrT="[Text]"/>
      <dgm:spPr/>
      <dgm:t>
        <a:bodyPr/>
        <a:lstStyle/>
        <a:p>
          <a:r>
            <a:rPr lang="en-US" noProof="0" dirty="0"/>
            <a:t>Mobile </a:t>
          </a:r>
          <a:br>
            <a:rPr lang="pl-PL" noProof="0" dirty="0"/>
          </a:br>
          <a:r>
            <a:rPr lang="en-US" noProof="0" dirty="0"/>
            <a:t>Grid</a:t>
          </a:r>
          <a:r>
            <a:rPr lang="pl-PL" noProof="0" dirty="0"/>
            <a:t> *</a:t>
          </a:r>
          <a:endParaRPr lang="en-US" noProof="0" dirty="0"/>
        </a:p>
      </dgm:t>
    </dgm:pt>
    <dgm:pt modelId="{AEF92B5E-DA15-46F7-BACF-71FF8F3D14F0}" type="parTrans" cxnId="{8F0BC77A-97BE-4977-BDA7-D96570690F34}">
      <dgm:prSet/>
      <dgm:spPr/>
      <dgm:t>
        <a:bodyPr/>
        <a:lstStyle/>
        <a:p>
          <a:endParaRPr lang="en-US"/>
        </a:p>
      </dgm:t>
    </dgm:pt>
    <dgm:pt modelId="{981C6366-F035-4302-9D7B-6125B4FAB462}" type="sibTrans" cxnId="{8F0BC77A-97BE-4977-BDA7-D96570690F34}">
      <dgm:prSet/>
      <dgm:spPr/>
      <dgm:t>
        <a:bodyPr/>
        <a:lstStyle/>
        <a:p>
          <a:endParaRPr lang="en-US"/>
        </a:p>
      </dgm:t>
    </dgm:pt>
    <dgm:pt modelId="{16B3806B-317F-41B0-ABDF-7267C80EC3B2}">
      <dgm:prSet phldrT="[Text]"/>
      <dgm:spPr/>
      <dgm:t>
        <a:bodyPr/>
        <a:lstStyle/>
        <a:p>
          <a:r>
            <a:rPr lang="en-US" noProof="0" dirty="0"/>
            <a:t>Standalone APP</a:t>
          </a:r>
          <a:r>
            <a:rPr lang="pl-PL" noProof="0" dirty="0"/>
            <a:t> *</a:t>
          </a:r>
          <a:endParaRPr lang="en-US" noProof="0" dirty="0"/>
        </a:p>
      </dgm:t>
    </dgm:pt>
    <dgm:pt modelId="{97DC8A9B-CFD6-40D1-A1ED-398BABE06067}" type="parTrans" cxnId="{5A200011-DE1C-4E4A-8F4A-4D5AD08EE3A9}">
      <dgm:prSet/>
      <dgm:spPr/>
      <dgm:t>
        <a:bodyPr/>
        <a:lstStyle/>
        <a:p>
          <a:endParaRPr lang="en-US"/>
        </a:p>
      </dgm:t>
    </dgm:pt>
    <dgm:pt modelId="{C1409865-ED18-41BE-9B28-662D81AEEE4F}" type="sibTrans" cxnId="{5A200011-DE1C-4E4A-8F4A-4D5AD08EE3A9}">
      <dgm:prSet/>
      <dgm:spPr/>
      <dgm:t>
        <a:bodyPr/>
        <a:lstStyle/>
        <a:p>
          <a:endParaRPr lang="en-US"/>
        </a:p>
      </dgm:t>
    </dgm:pt>
    <dgm:pt modelId="{8E346F4D-76A2-462D-9B44-3650FB2B405C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/>
            <a:t>Security module</a:t>
          </a:r>
        </a:p>
      </dgm:t>
    </dgm:pt>
    <dgm:pt modelId="{3F230114-3CC0-45DF-9870-044520BC28C8}" type="parTrans" cxnId="{1D76C90C-838C-4330-B04F-05BE873D410F}">
      <dgm:prSet/>
      <dgm:spPr/>
      <dgm:t>
        <a:bodyPr/>
        <a:lstStyle/>
        <a:p>
          <a:endParaRPr lang="en-US"/>
        </a:p>
      </dgm:t>
    </dgm:pt>
    <dgm:pt modelId="{0F905974-FF65-435B-B2DD-FBC8F1A908F0}" type="sibTrans" cxnId="{1D76C90C-838C-4330-B04F-05BE873D410F}">
      <dgm:prSet/>
      <dgm:spPr/>
      <dgm:t>
        <a:bodyPr/>
        <a:lstStyle/>
        <a:p>
          <a:endParaRPr lang="en-US"/>
        </a:p>
      </dgm:t>
    </dgm:pt>
    <dgm:pt modelId="{6733E3A7-9EE4-4EFF-B65C-61E0B126E302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DevOps module</a:t>
          </a:r>
        </a:p>
      </dgm:t>
    </dgm:pt>
    <dgm:pt modelId="{3D98FF0D-B7EB-42FA-8A0C-F97A740C5CC2}" type="parTrans" cxnId="{C4B3FED4-3336-4139-911B-D057D16A48F5}">
      <dgm:prSet/>
      <dgm:spPr/>
      <dgm:t>
        <a:bodyPr/>
        <a:lstStyle/>
        <a:p>
          <a:endParaRPr lang="en-US"/>
        </a:p>
      </dgm:t>
    </dgm:pt>
    <dgm:pt modelId="{C64997DC-0FAE-46D2-807A-F0C151BFA135}" type="sibTrans" cxnId="{C4B3FED4-3336-4139-911B-D057D16A48F5}">
      <dgm:prSet/>
      <dgm:spPr/>
      <dgm:t>
        <a:bodyPr/>
        <a:lstStyle/>
        <a:p>
          <a:endParaRPr lang="en-US"/>
        </a:p>
      </dgm:t>
    </dgm:pt>
    <dgm:pt modelId="{9A65ADEB-F1B5-411F-B9AC-B64E8E60B070}">
      <dgm:prSet phldrT="[Text]"/>
      <dgm:spPr>
        <a:solidFill>
          <a:srgbClr val="0085B3"/>
        </a:solidFill>
        <a:ln w="28575">
          <a:noFill/>
        </a:ln>
      </dgm:spPr>
      <dgm:t>
        <a:bodyPr/>
        <a:lstStyle/>
        <a:p>
          <a:r>
            <a:rPr lang="en-US" noProof="0" dirty="0"/>
            <a:t>Test core module</a:t>
          </a:r>
        </a:p>
      </dgm:t>
    </dgm:pt>
    <dgm:pt modelId="{124EE3FC-3289-4868-83FD-BB361276B47E}" type="parTrans" cxnId="{6933AB0D-D526-4683-90E6-DBCAD5B13CA0}">
      <dgm:prSet/>
      <dgm:spPr/>
      <dgm:t>
        <a:bodyPr/>
        <a:lstStyle/>
        <a:p>
          <a:endParaRPr lang="en-US"/>
        </a:p>
      </dgm:t>
    </dgm:pt>
    <dgm:pt modelId="{80E8A97E-4D14-4268-B043-8933A19483DA}" type="sibTrans" cxnId="{6933AB0D-D526-4683-90E6-DBCAD5B13CA0}">
      <dgm:prSet/>
      <dgm:spPr/>
      <dgm:t>
        <a:bodyPr/>
        <a:lstStyle/>
        <a:p>
          <a:endParaRPr lang="en-US"/>
        </a:p>
      </dgm:t>
    </dgm:pt>
    <dgm:pt modelId="{2B2119DE-9C5F-42BD-90CA-B1F7EF735AF4}" type="pres">
      <dgm:prSet presAssocID="{B9C32B05-62EA-407A-B21C-2310C794570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B9E2D6A-8969-4EEC-85C2-615B86E0B196}" type="pres">
      <dgm:prSet presAssocID="{42D71409-67F9-455C-8C6D-716D284AAA6B}" presName="vertOne" presStyleCnt="0"/>
      <dgm:spPr/>
    </dgm:pt>
    <dgm:pt modelId="{034D588B-2C5E-413E-8FB3-A45A598FE77E}" type="pres">
      <dgm:prSet presAssocID="{42D71409-67F9-455C-8C6D-716D284AAA6B}" presName="txOne" presStyleLbl="node0" presStyleIdx="0" presStyleCnt="3">
        <dgm:presLayoutVars>
          <dgm:chPref val="3"/>
        </dgm:presLayoutVars>
      </dgm:prSet>
      <dgm:spPr/>
    </dgm:pt>
    <dgm:pt modelId="{155C8750-CD3F-4EED-8869-852B83F3E2B4}" type="pres">
      <dgm:prSet presAssocID="{42D71409-67F9-455C-8C6D-716D284AAA6B}" presName="parTransOne" presStyleCnt="0"/>
      <dgm:spPr/>
    </dgm:pt>
    <dgm:pt modelId="{782F8E29-E0AF-4190-B2CF-FA75DA3E0DD3}" type="pres">
      <dgm:prSet presAssocID="{42D71409-67F9-455C-8C6D-716D284AAA6B}" presName="horzOne" presStyleCnt="0"/>
      <dgm:spPr/>
    </dgm:pt>
    <dgm:pt modelId="{DA72A51A-2648-42DA-A6F5-1368068F74F5}" type="pres">
      <dgm:prSet presAssocID="{8E346F4D-76A2-462D-9B44-3650FB2B405C}" presName="vertTwo" presStyleCnt="0"/>
      <dgm:spPr/>
    </dgm:pt>
    <dgm:pt modelId="{CDB456C7-FEB2-4189-8DB4-859E0B913BE7}" type="pres">
      <dgm:prSet presAssocID="{8E346F4D-76A2-462D-9B44-3650FB2B405C}" presName="txTwo" presStyleLbl="node2" presStyleIdx="0" presStyleCnt="2" custScaleY="205355" custLinFactX="225310" custLinFactNeighborX="300000" custLinFactNeighborY="2804">
        <dgm:presLayoutVars>
          <dgm:chPref val="3"/>
        </dgm:presLayoutVars>
      </dgm:prSet>
      <dgm:spPr/>
    </dgm:pt>
    <dgm:pt modelId="{665A94F3-AC2E-440A-90D8-6366FA2C472B}" type="pres">
      <dgm:prSet presAssocID="{8E346F4D-76A2-462D-9B44-3650FB2B405C}" presName="horzTwo" presStyleCnt="0"/>
      <dgm:spPr/>
    </dgm:pt>
    <dgm:pt modelId="{E8E6822D-8E60-479F-9744-0822855A4470}" type="pres">
      <dgm:prSet presAssocID="{0F905974-FF65-435B-B2DD-FBC8F1A908F0}" presName="sibSpaceTwo" presStyleCnt="0"/>
      <dgm:spPr/>
    </dgm:pt>
    <dgm:pt modelId="{1DEC18CE-0974-4E7A-AE22-5B53857D08A5}" type="pres">
      <dgm:prSet presAssocID="{09BA98DE-DEC2-4D0D-8490-D3297BBF0088}" presName="vertTwo" presStyleCnt="0"/>
      <dgm:spPr/>
    </dgm:pt>
    <dgm:pt modelId="{79946D67-CF20-4533-873C-9747C402A031}" type="pres">
      <dgm:prSet presAssocID="{09BA98DE-DEC2-4D0D-8490-D3297BBF0088}" presName="txTwo" presStyleLbl="node2" presStyleIdx="1" presStyleCnt="2" custLinFactNeighborX="-21053" custLinFactNeighborY="48072">
        <dgm:presLayoutVars>
          <dgm:chPref val="3"/>
        </dgm:presLayoutVars>
      </dgm:prSet>
      <dgm:spPr/>
    </dgm:pt>
    <dgm:pt modelId="{11A9DFF6-0FBF-42E2-AC9E-E9078967B9F6}" type="pres">
      <dgm:prSet presAssocID="{09BA98DE-DEC2-4D0D-8490-D3297BBF0088}" presName="parTransTwo" presStyleCnt="0"/>
      <dgm:spPr/>
    </dgm:pt>
    <dgm:pt modelId="{B536D2A5-09A8-40A9-B9B2-95A40A490E97}" type="pres">
      <dgm:prSet presAssocID="{09BA98DE-DEC2-4D0D-8490-D3297BBF0088}" presName="horzTwo" presStyleCnt="0"/>
      <dgm:spPr/>
    </dgm:pt>
    <dgm:pt modelId="{CC689BD4-6667-4A02-BE0B-05FBA1E9DFEE}" type="pres">
      <dgm:prSet presAssocID="{A7376EC0-5FEA-48A4-B284-B453C867CA4F}" presName="vertThree" presStyleCnt="0"/>
      <dgm:spPr/>
    </dgm:pt>
    <dgm:pt modelId="{7951CDCD-4F97-4CCA-8C56-4992B72B07BB}" type="pres">
      <dgm:prSet presAssocID="{A7376EC0-5FEA-48A4-B284-B453C867CA4F}" presName="txThree" presStyleLbl="node3" presStyleIdx="0" presStyleCnt="5" custLinFactX="-9429" custLinFactNeighborX="-100000" custLinFactNeighborY="8130">
        <dgm:presLayoutVars>
          <dgm:chPref val="3"/>
        </dgm:presLayoutVars>
      </dgm:prSet>
      <dgm:spPr/>
    </dgm:pt>
    <dgm:pt modelId="{5AA5A2CD-9B6E-4706-AD2B-726846A26241}" type="pres">
      <dgm:prSet presAssocID="{A7376EC0-5FEA-48A4-B284-B453C867CA4F}" presName="horzThree" presStyleCnt="0"/>
      <dgm:spPr/>
    </dgm:pt>
    <dgm:pt modelId="{3774BBD5-FDE4-40E1-B05B-37017133E0FA}" type="pres">
      <dgm:prSet presAssocID="{620F1AE9-67A6-43E4-8D4E-A7556D36F8F8}" presName="sibSpaceThree" presStyleCnt="0"/>
      <dgm:spPr/>
    </dgm:pt>
    <dgm:pt modelId="{41559B25-8C6A-464D-BF22-BE3C9F736111}" type="pres">
      <dgm:prSet presAssocID="{2292288B-8B39-49F2-9CA8-9AFCD7CDA712}" presName="vertThree" presStyleCnt="0"/>
      <dgm:spPr/>
    </dgm:pt>
    <dgm:pt modelId="{16415C91-F210-4416-A0F4-1AA0347D5471}" type="pres">
      <dgm:prSet presAssocID="{2292288B-8B39-49F2-9CA8-9AFCD7CDA712}" presName="txThree" presStyleLbl="node3" presStyleIdx="1" presStyleCnt="5" custLinFactX="-9460" custLinFactNeighborX="-100000" custLinFactNeighborY="8130">
        <dgm:presLayoutVars>
          <dgm:chPref val="3"/>
        </dgm:presLayoutVars>
      </dgm:prSet>
      <dgm:spPr/>
    </dgm:pt>
    <dgm:pt modelId="{2A95AAC2-1202-4AC2-BACF-0DA698DF7F4C}" type="pres">
      <dgm:prSet presAssocID="{2292288B-8B39-49F2-9CA8-9AFCD7CDA712}" presName="horzThree" presStyleCnt="0"/>
      <dgm:spPr/>
    </dgm:pt>
    <dgm:pt modelId="{8FF487CA-1EFE-4D30-AE1A-DA6180CF2B9F}" type="pres">
      <dgm:prSet presAssocID="{572C2FA6-B61B-4B7E-9BE2-BE1757364927}" presName="sibSpaceThree" presStyleCnt="0"/>
      <dgm:spPr/>
    </dgm:pt>
    <dgm:pt modelId="{6F748793-9F52-45C0-BB7D-F70EE9ADCD11}" type="pres">
      <dgm:prSet presAssocID="{589892E1-7E9A-4ED2-9A00-ECF59CD9E4E2}" presName="vertThree" presStyleCnt="0"/>
      <dgm:spPr/>
    </dgm:pt>
    <dgm:pt modelId="{D8A6C93A-917D-4567-B16D-E30EEE8A93BD}" type="pres">
      <dgm:prSet presAssocID="{589892E1-7E9A-4ED2-9A00-ECF59CD9E4E2}" presName="txThree" presStyleLbl="node3" presStyleIdx="2" presStyleCnt="5" custLinFactX="-9460" custLinFactNeighborX="-100000" custLinFactNeighborY="8130">
        <dgm:presLayoutVars>
          <dgm:chPref val="3"/>
        </dgm:presLayoutVars>
      </dgm:prSet>
      <dgm:spPr/>
    </dgm:pt>
    <dgm:pt modelId="{EF0B39D7-3444-41FC-AA5E-204BA04CE20B}" type="pres">
      <dgm:prSet presAssocID="{589892E1-7E9A-4ED2-9A00-ECF59CD9E4E2}" presName="horzThree" presStyleCnt="0"/>
      <dgm:spPr/>
    </dgm:pt>
    <dgm:pt modelId="{0C74B5B8-1BB4-4CC1-B901-4409ED4551A1}" type="pres">
      <dgm:prSet presAssocID="{6E27F27E-66F1-4C1C-AB5B-DE1A342F5B80}" presName="sibSpaceThree" presStyleCnt="0"/>
      <dgm:spPr/>
    </dgm:pt>
    <dgm:pt modelId="{04CFD224-47B9-4740-85C5-27869E975EBD}" type="pres">
      <dgm:prSet presAssocID="{6B9937D0-C50E-45C2-B4B1-863E69FCB5B1}" presName="vertThree" presStyleCnt="0"/>
      <dgm:spPr/>
    </dgm:pt>
    <dgm:pt modelId="{10845D90-6534-40EB-8279-CF7912BF2E6A}" type="pres">
      <dgm:prSet presAssocID="{6B9937D0-C50E-45C2-B4B1-863E69FCB5B1}" presName="txThree" presStyleLbl="node3" presStyleIdx="3" presStyleCnt="5" custLinFactX="-9460" custLinFactNeighborX="-100000" custLinFactNeighborY="8130">
        <dgm:presLayoutVars>
          <dgm:chPref val="3"/>
        </dgm:presLayoutVars>
      </dgm:prSet>
      <dgm:spPr/>
    </dgm:pt>
    <dgm:pt modelId="{54AA577C-9EA8-4070-9234-7DE01FE1F281}" type="pres">
      <dgm:prSet presAssocID="{6B9937D0-C50E-45C2-B4B1-863E69FCB5B1}" presName="horzThree" presStyleCnt="0"/>
      <dgm:spPr/>
    </dgm:pt>
    <dgm:pt modelId="{439A1615-4820-49EA-B3CF-83905D4EF337}" type="pres">
      <dgm:prSet presAssocID="{981C6366-F035-4302-9D7B-6125B4FAB462}" presName="sibSpaceThree" presStyleCnt="0"/>
      <dgm:spPr/>
    </dgm:pt>
    <dgm:pt modelId="{46B34DDF-9C3B-405B-9CAC-1D39BDBC2EEE}" type="pres">
      <dgm:prSet presAssocID="{16B3806B-317F-41B0-ABDF-7267C80EC3B2}" presName="vertThree" presStyleCnt="0"/>
      <dgm:spPr/>
    </dgm:pt>
    <dgm:pt modelId="{9A46057F-5CDA-4B57-BF6D-897D216AF86F}" type="pres">
      <dgm:prSet presAssocID="{16B3806B-317F-41B0-ABDF-7267C80EC3B2}" presName="txThree" presStyleLbl="node3" presStyleIdx="4" presStyleCnt="5" custLinFactX="-9460" custLinFactNeighborX="-100000" custLinFactNeighborY="8130">
        <dgm:presLayoutVars>
          <dgm:chPref val="3"/>
        </dgm:presLayoutVars>
      </dgm:prSet>
      <dgm:spPr/>
    </dgm:pt>
    <dgm:pt modelId="{DBC56214-4432-4434-8518-707CDC63F5BF}" type="pres">
      <dgm:prSet presAssocID="{16B3806B-317F-41B0-ABDF-7267C80EC3B2}" presName="horzThree" presStyleCnt="0"/>
      <dgm:spPr/>
    </dgm:pt>
    <dgm:pt modelId="{38DD3712-FE5D-4944-89FA-AD709564BD3A}" type="pres">
      <dgm:prSet presAssocID="{478B7D3C-9FB4-4BC6-90AC-49960560DECD}" presName="sibSpaceOne" presStyleCnt="0"/>
      <dgm:spPr/>
    </dgm:pt>
    <dgm:pt modelId="{1C4B8FF2-A5B4-46BA-942A-8A19BEE69F70}" type="pres">
      <dgm:prSet presAssocID="{6733E3A7-9EE4-4EFF-B65C-61E0B126E302}" presName="vertOne" presStyleCnt="0"/>
      <dgm:spPr/>
    </dgm:pt>
    <dgm:pt modelId="{1F321622-6935-42D4-AE83-D556256DD586}" type="pres">
      <dgm:prSet presAssocID="{6733E3A7-9EE4-4EFF-B65C-61E0B126E302}" presName="txOne" presStyleLbl="node0" presStyleIdx="1" presStyleCnt="3" custScaleY="309236" custLinFactNeighborX="-7251">
        <dgm:presLayoutVars>
          <dgm:chPref val="3"/>
        </dgm:presLayoutVars>
      </dgm:prSet>
      <dgm:spPr/>
    </dgm:pt>
    <dgm:pt modelId="{824137B6-FDCD-4837-BBD2-6FDD09327885}" type="pres">
      <dgm:prSet presAssocID="{6733E3A7-9EE4-4EFF-B65C-61E0B126E302}" presName="horzOne" presStyleCnt="0"/>
      <dgm:spPr/>
    </dgm:pt>
    <dgm:pt modelId="{ECE19E2B-8C42-4059-9124-AF3EDDEFF355}" type="pres">
      <dgm:prSet presAssocID="{C64997DC-0FAE-46D2-807A-F0C151BFA135}" presName="sibSpaceOne" presStyleCnt="0"/>
      <dgm:spPr/>
    </dgm:pt>
    <dgm:pt modelId="{915571E0-40F3-4E75-A71C-E935FB4D94B6}" type="pres">
      <dgm:prSet presAssocID="{9A65ADEB-F1B5-411F-B9AC-B64E8E60B070}" presName="vertOne" presStyleCnt="0"/>
      <dgm:spPr/>
    </dgm:pt>
    <dgm:pt modelId="{AF9421C1-0977-4165-AE01-1E0941FF1DC2}" type="pres">
      <dgm:prSet presAssocID="{9A65ADEB-F1B5-411F-B9AC-B64E8E60B070}" presName="txOne" presStyleLbl="node0" presStyleIdx="2" presStyleCnt="3" custScaleY="309153" custLinFactNeighborX="-13910" custLinFactNeighborY="-96">
        <dgm:presLayoutVars>
          <dgm:chPref val="3"/>
        </dgm:presLayoutVars>
      </dgm:prSet>
      <dgm:spPr/>
    </dgm:pt>
    <dgm:pt modelId="{870B6F6E-AE96-4262-9B4A-86C432C82D5E}" type="pres">
      <dgm:prSet presAssocID="{9A65ADEB-F1B5-411F-B9AC-B64E8E60B070}" presName="horzOne" presStyleCnt="0"/>
      <dgm:spPr/>
    </dgm:pt>
  </dgm:ptLst>
  <dgm:cxnLst>
    <dgm:cxn modelId="{1D76C90C-838C-4330-B04F-05BE873D410F}" srcId="{42D71409-67F9-455C-8C6D-716D284AAA6B}" destId="{8E346F4D-76A2-462D-9B44-3650FB2B405C}" srcOrd="0" destOrd="0" parTransId="{3F230114-3CC0-45DF-9870-044520BC28C8}" sibTransId="{0F905974-FF65-435B-B2DD-FBC8F1A908F0}"/>
    <dgm:cxn modelId="{6933AB0D-D526-4683-90E6-DBCAD5B13CA0}" srcId="{B9C32B05-62EA-407A-B21C-2310C7945705}" destId="{9A65ADEB-F1B5-411F-B9AC-B64E8E60B070}" srcOrd="2" destOrd="0" parTransId="{124EE3FC-3289-4868-83FD-BB361276B47E}" sibTransId="{80E8A97E-4D14-4268-B043-8933A19483DA}"/>
    <dgm:cxn modelId="{AC431E10-8495-40FC-AE68-1DE0241390B0}" srcId="{09BA98DE-DEC2-4D0D-8490-D3297BBF0088}" destId="{A7376EC0-5FEA-48A4-B284-B453C867CA4F}" srcOrd="0" destOrd="0" parTransId="{D8387D70-E1F9-4B42-8EE4-B3BED889F64B}" sibTransId="{620F1AE9-67A6-43E4-8D4E-A7556D36F8F8}"/>
    <dgm:cxn modelId="{5A200011-DE1C-4E4A-8F4A-4D5AD08EE3A9}" srcId="{09BA98DE-DEC2-4D0D-8490-D3297BBF0088}" destId="{16B3806B-317F-41B0-ABDF-7267C80EC3B2}" srcOrd="4" destOrd="0" parTransId="{97DC8A9B-CFD6-40D1-A1ED-398BABE06067}" sibTransId="{C1409865-ED18-41BE-9B28-662D81AEEE4F}"/>
    <dgm:cxn modelId="{9485E016-24FF-4C5B-A604-8D2C35894629}" type="presOf" srcId="{6733E3A7-9EE4-4EFF-B65C-61E0B126E302}" destId="{1F321622-6935-42D4-AE83-D556256DD586}" srcOrd="0" destOrd="0" presId="urn:microsoft.com/office/officeart/2005/8/layout/architecture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4DF5D2A-6A4D-4162-9537-4E5EFE935020}" type="presOf" srcId="{8E346F4D-76A2-462D-9B44-3650FB2B405C}" destId="{CDB456C7-FEB2-4189-8DB4-859E0B913BE7}" srcOrd="0" destOrd="0" presId="urn:microsoft.com/office/officeart/2005/8/layout/architecture"/>
    <dgm:cxn modelId="{A979BC3C-2723-4156-B3DB-C01E9A5B2FD4}" type="presOf" srcId="{42D71409-67F9-455C-8C6D-716D284AAA6B}" destId="{034D588B-2C5E-413E-8FB3-A45A598FE77E}" srcOrd="0" destOrd="0" presId="urn:microsoft.com/office/officeart/2005/8/layout/architecture"/>
    <dgm:cxn modelId="{BE1FAE48-E7FA-4B5F-B8A0-AB0218E01AAA}" type="presOf" srcId="{09BA98DE-DEC2-4D0D-8490-D3297BBF0088}" destId="{79946D67-CF20-4533-873C-9747C402A031}" srcOrd="0" destOrd="0" presId="urn:microsoft.com/office/officeart/2005/8/layout/architecture"/>
    <dgm:cxn modelId="{D3531A79-F502-4DE6-B84D-ADA7B780EF91}" type="presOf" srcId="{6B9937D0-C50E-45C2-B4B1-863E69FCB5B1}" destId="{10845D90-6534-40EB-8279-CF7912BF2E6A}" srcOrd="0" destOrd="0" presId="urn:microsoft.com/office/officeart/2005/8/layout/architecture"/>
    <dgm:cxn modelId="{8F0BC77A-97BE-4977-BDA7-D96570690F34}" srcId="{09BA98DE-DEC2-4D0D-8490-D3297BBF0088}" destId="{6B9937D0-C50E-45C2-B4B1-863E69FCB5B1}" srcOrd="3" destOrd="0" parTransId="{AEF92B5E-DA15-46F7-BACF-71FF8F3D14F0}" sibTransId="{981C6366-F035-4302-9D7B-6125B4FAB462}"/>
    <dgm:cxn modelId="{838E4390-9F55-49D4-9507-F4A284234087}" type="presOf" srcId="{9A65ADEB-F1B5-411F-B9AC-B64E8E60B070}" destId="{AF9421C1-0977-4165-AE01-1E0941FF1DC2}" srcOrd="0" destOrd="0" presId="urn:microsoft.com/office/officeart/2005/8/layout/architecture"/>
    <dgm:cxn modelId="{01735BA0-2B36-41EC-BFC0-0CCFA7ACD053}" srcId="{09BA98DE-DEC2-4D0D-8490-D3297BBF0088}" destId="{2292288B-8B39-49F2-9CA8-9AFCD7CDA712}" srcOrd="1" destOrd="0" parTransId="{01D0AB0F-E732-41F9-9D62-3B8C4434DC42}" sibTransId="{572C2FA6-B61B-4B7E-9BE2-BE1757364927}"/>
    <dgm:cxn modelId="{D68E50A4-4DE3-4F5D-92C6-F68E47329EAA}" srcId="{09BA98DE-DEC2-4D0D-8490-D3297BBF0088}" destId="{589892E1-7E9A-4ED2-9A00-ECF59CD9E4E2}" srcOrd="2" destOrd="0" parTransId="{6298D63F-CF36-4C9A-B1AF-B6EC065B8542}" sibTransId="{6E27F27E-66F1-4C1C-AB5B-DE1A342F5B80}"/>
    <dgm:cxn modelId="{0D291AB4-BEB5-4618-B81D-7B95651B289E}" type="presOf" srcId="{16B3806B-317F-41B0-ABDF-7267C80EC3B2}" destId="{9A46057F-5CDA-4B57-BF6D-897D216AF86F}" srcOrd="0" destOrd="0" presId="urn:microsoft.com/office/officeart/2005/8/layout/architecture"/>
    <dgm:cxn modelId="{29AD19C1-E3CA-4CBB-B7D5-1464D9D29FFC}" type="presOf" srcId="{B9C32B05-62EA-407A-B21C-2310C7945705}" destId="{2B2119DE-9C5F-42BD-90CA-B1F7EF735AF4}" srcOrd="0" destOrd="0" presId="urn:microsoft.com/office/officeart/2005/8/layout/architecture"/>
    <dgm:cxn modelId="{B74A69C1-DB0A-4823-ABB8-FD9F97D1DF87}" srcId="{42D71409-67F9-455C-8C6D-716D284AAA6B}" destId="{09BA98DE-DEC2-4D0D-8490-D3297BBF0088}" srcOrd="1" destOrd="0" parTransId="{8E89657A-9899-4663-8EBD-CE951A955DD5}" sibTransId="{D9604DA3-0B95-413D-AA9C-D75798C0FF52}"/>
    <dgm:cxn modelId="{C4B3FED4-3336-4139-911B-D057D16A48F5}" srcId="{B9C32B05-62EA-407A-B21C-2310C7945705}" destId="{6733E3A7-9EE4-4EFF-B65C-61E0B126E302}" srcOrd="1" destOrd="0" parTransId="{3D98FF0D-B7EB-42FA-8A0C-F97A740C5CC2}" sibTransId="{C64997DC-0FAE-46D2-807A-F0C151BFA135}"/>
    <dgm:cxn modelId="{13147EDA-6AAB-4BDB-84A1-5EBE5C2F9AC0}" type="presOf" srcId="{A7376EC0-5FEA-48A4-B284-B453C867CA4F}" destId="{7951CDCD-4F97-4CCA-8C56-4992B72B07BB}" srcOrd="0" destOrd="0" presId="urn:microsoft.com/office/officeart/2005/8/layout/architecture"/>
    <dgm:cxn modelId="{CDE785E0-C465-484D-9E57-92F491C024BB}" type="presOf" srcId="{589892E1-7E9A-4ED2-9A00-ECF59CD9E4E2}" destId="{D8A6C93A-917D-4567-B16D-E30EEE8A93BD}" srcOrd="0" destOrd="0" presId="urn:microsoft.com/office/officeart/2005/8/layout/architecture"/>
    <dgm:cxn modelId="{E9122CFC-2E55-4948-9216-106805F06521}" type="presOf" srcId="{2292288B-8B39-49F2-9CA8-9AFCD7CDA712}" destId="{16415C91-F210-4416-A0F4-1AA0347D5471}" srcOrd="0" destOrd="0" presId="urn:microsoft.com/office/officeart/2005/8/layout/architecture"/>
    <dgm:cxn modelId="{39EA7F95-4D46-4958-AC66-FB5E4923064E}" type="presParOf" srcId="{2B2119DE-9C5F-42BD-90CA-B1F7EF735AF4}" destId="{7B9E2D6A-8969-4EEC-85C2-615B86E0B196}" srcOrd="0" destOrd="0" presId="urn:microsoft.com/office/officeart/2005/8/layout/architecture"/>
    <dgm:cxn modelId="{55849938-37BC-425A-9F52-D3C2D550C45C}" type="presParOf" srcId="{7B9E2D6A-8969-4EEC-85C2-615B86E0B196}" destId="{034D588B-2C5E-413E-8FB3-A45A598FE77E}" srcOrd="0" destOrd="0" presId="urn:microsoft.com/office/officeart/2005/8/layout/architecture"/>
    <dgm:cxn modelId="{78954A11-5968-418D-8359-8E2137AE71C9}" type="presParOf" srcId="{7B9E2D6A-8969-4EEC-85C2-615B86E0B196}" destId="{155C8750-CD3F-4EED-8869-852B83F3E2B4}" srcOrd="1" destOrd="0" presId="urn:microsoft.com/office/officeart/2005/8/layout/architecture"/>
    <dgm:cxn modelId="{1D889143-CBFE-457D-B257-4536B47700D6}" type="presParOf" srcId="{7B9E2D6A-8969-4EEC-85C2-615B86E0B196}" destId="{782F8E29-E0AF-4190-B2CF-FA75DA3E0DD3}" srcOrd="2" destOrd="0" presId="urn:microsoft.com/office/officeart/2005/8/layout/architecture"/>
    <dgm:cxn modelId="{A64ABA92-BFD4-464D-A813-719DA8E4D353}" type="presParOf" srcId="{782F8E29-E0AF-4190-B2CF-FA75DA3E0DD3}" destId="{DA72A51A-2648-42DA-A6F5-1368068F74F5}" srcOrd="0" destOrd="0" presId="urn:microsoft.com/office/officeart/2005/8/layout/architecture"/>
    <dgm:cxn modelId="{AE9B9108-75CD-4962-AAB5-0150EABB791A}" type="presParOf" srcId="{DA72A51A-2648-42DA-A6F5-1368068F74F5}" destId="{CDB456C7-FEB2-4189-8DB4-859E0B913BE7}" srcOrd="0" destOrd="0" presId="urn:microsoft.com/office/officeart/2005/8/layout/architecture"/>
    <dgm:cxn modelId="{CCF17E4B-C4B8-45FC-B226-A3056C897CDB}" type="presParOf" srcId="{DA72A51A-2648-42DA-A6F5-1368068F74F5}" destId="{665A94F3-AC2E-440A-90D8-6366FA2C472B}" srcOrd="1" destOrd="0" presId="urn:microsoft.com/office/officeart/2005/8/layout/architecture"/>
    <dgm:cxn modelId="{5D750304-BC3F-4CFB-84BA-E8DEEA9CB757}" type="presParOf" srcId="{782F8E29-E0AF-4190-B2CF-FA75DA3E0DD3}" destId="{E8E6822D-8E60-479F-9744-0822855A4470}" srcOrd="1" destOrd="0" presId="urn:microsoft.com/office/officeart/2005/8/layout/architecture"/>
    <dgm:cxn modelId="{64731336-DFF0-4527-A608-DA86DC8E03B9}" type="presParOf" srcId="{782F8E29-E0AF-4190-B2CF-FA75DA3E0DD3}" destId="{1DEC18CE-0974-4E7A-AE22-5B53857D08A5}" srcOrd="2" destOrd="0" presId="urn:microsoft.com/office/officeart/2005/8/layout/architecture"/>
    <dgm:cxn modelId="{C13FB284-2F9D-4AAA-82A1-BF020F9FA761}" type="presParOf" srcId="{1DEC18CE-0974-4E7A-AE22-5B53857D08A5}" destId="{79946D67-CF20-4533-873C-9747C402A031}" srcOrd="0" destOrd="0" presId="urn:microsoft.com/office/officeart/2005/8/layout/architecture"/>
    <dgm:cxn modelId="{CC01CDF7-CDD5-4DCB-ACA0-A29F780A5428}" type="presParOf" srcId="{1DEC18CE-0974-4E7A-AE22-5B53857D08A5}" destId="{11A9DFF6-0FBF-42E2-AC9E-E9078967B9F6}" srcOrd="1" destOrd="0" presId="urn:microsoft.com/office/officeart/2005/8/layout/architecture"/>
    <dgm:cxn modelId="{D05EC6C4-F0F6-48F5-8BE8-4B6FA953FBF9}" type="presParOf" srcId="{1DEC18CE-0974-4E7A-AE22-5B53857D08A5}" destId="{B536D2A5-09A8-40A9-B9B2-95A40A490E97}" srcOrd="2" destOrd="0" presId="urn:microsoft.com/office/officeart/2005/8/layout/architecture"/>
    <dgm:cxn modelId="{5F7F3AF0-0535-400B-8519-166D66F8E2B9}" type="presParOf" srcId="{B536D2A5-09A8-40A9-B9B2-95A40A490E97}" destId="{CC689BD4-6667-4A02-BE0B-05FBA1E9DFEE}" srcOrd="0" destOrd="0" presId="urn:microsoft.com/office/officeart/2005/8/layout/architecture"/>
    <dgm:cxn modelId="{91D6E38E-B3D7-458E-8D8A-5A0AD2B8F466}" type="presParOf" srcId="{CC689BD4-6667-4A02-BE0B-05FBA1E9DFEE}" destId="{7951CDCD-4F97-4CCA-8C56-4992B72B07BB}" srcOrd="0" destOrd="0" presId="urn:microsoft.com/office/officeart/2005/8/layout/architecture"/>
    <dgm:cxn modelId="{DA797278-E2B1-4C69-80C8-1EDBFA09ADF9}" type="presParOf" srcId="{CC689BD4-6667-4A02-BE0B-05FBA1E9DFEE}" destId="{5AA5A2CD-9B6E-4706-AD2B-726846A26241}" srcOrd="1" destOrd="0" presId="urn:microsoft.com/office/officeart/2005/8/layout/architecture"/>
    <dgm:cxn modelId="{EEEA0B91-D02D-42B9-83B2-F869C774B485}" type="presParOf" srcId="{B536D2A5-09A8-40A9-B9B2-95A40A490E97}" destId="{3774BBD5-FDE4-40E1-B05B-37017133E0FA}" srcOrd="1" destOrd="0" presId="urn:microsoft.com/office/officeart/2005/8/layout/architecture"/>
    <dgm:cxn modelId="{92B2A7FE-154A-42F2-938E-01F853842220}" type="presParOf" srcId="{B536D2A5-09A8-40A9-B9B2-95A40A490E97}" destId="{41559B25-8C6A-464D-BF22-BE3C9F736111}" srcOrd="2" destOrd="0" presId="urn:microsoft.com/office/officeart/2005/8/layout/architecture"/>
    <dgm:cxn modelId="{B42CC3AE-7780-40DD-B598-8F6990D86C95}" type="presParOf" srcId="{41559B25-8C6A-464D-BF22-BE3C9F736111}" destId="{16415C91-F210-4416-A0F4-1AA0347D5471}" srcOrd="0" destOrd="0" presId="urn:microsoft.com/office/officeart/2005/8/layout/architecture"/>
    <dgm:cxn modelId="{7364F703-18B4-4A0E-A14A-401B942420E7}" type="presParOf" srcId="{41559B25-8C6A-464D-BF22-BE3C9F736111}" destId="{2A95AAC2-1202-4AC2-BACF-0DA698DF7F4C}" srcOrd="1" destOrd="0" presId="urn:microsoft.com/office/officeart/2005/8/layout/architecture"/>
    <dgm:cxn modelId="{15159FF2-9BA1-43D6-AD31-8B5C8B9E10B9}" type="presParOf" srcId="{B536D2A5-09A8-40A9-B9B2-95A40A490E97}" destId="{8FF487CA-1EFE-4D30-AE1A-DA6180CF2B9F}" srcOrd="3" destOrd="0" presId="urn:microsoft.com/office/officeart/2005/8/layout/architecture"/>
    <dgm:cxn modelId="{C90D1555-79A3-441D-881D-AF6F09919C64}" type="presParOf" srcId="{B536D2A5-09A8-40A9-B9B2-95A40A490E97}" destId="{6F748793-9F52-45C0-BB7D-F70EE9ADCD11}" srcOrd="4" destOrd="0" presId="urn:microsoft.com/office/officeart/2005/8/layout/architecture"/>
    <dgm:cxn modelId="{EA412814-F0F3-4DD2-8FDB-70F4138BC3F5}" type="presParOf" srcId="{6F748793-9F52-45C0-BB7D-F70EE9ADCD11}" destId="{D8A6C93A-917D-4567-B16D-E30EEE8A93BD}" srcOrd="0" destOrd="0" presId="urn:microsoft.com/office/officeart/2005/8/layout/architecture"/>
    <dgm:cxn modelId="{19695E5B-85F2-44C5-9399-2F1C39E3706A}" type="presParOf" srcId="{6F748793-9F52-45C0-BB7D-F70EE9ADCD11}" destId="{EF0B39D7-3444-41FC-AA5E-204BA04CE20B}" srcOrd="1" destOrd="0" presId="urn:microsoft.com/office/officeart/2005/8/layout/architecture"/>
    <dgm:cxn modelId="{4BD63E64-D669-48C9-B21C-31652BE02F5E}" type="presParOf" srcId="{B536D2A5-09A8-40A9-B9B2-95A40A490E97}" destId="{0C74B5B8-1BB4-4CC1-B901-4409ED4551A1}" srcOrd="5" destOrd="0" presId="urn:microsoft.com/office/officeart/2005/8/layout/architecture"/>
    <dgm:cxn modelId="{94B5DC0C-011E-46D5-A6BC-24B36154307C}" type="presParOf" srcId="{B536D2A5-09A8-40A9-B9B2-95A40A490E97}" destId="{04CFD224-47B9-4740-85C5-27869E975EBD}" srcOrd="6" destOrd="0" presId="urn:microsoft.com/office/officeart/2005/8/layout/architecture"/>
    <dgm:cxn modelId="{87D3EE63-EBD5-4BD4-B5E4-E8664690A2BA}" type="presParOf" srcId="{04CFD224-47B9-4740-85C5-27869E975EBD}" destId="{10845D90-6534-40EB-8279-CF7912BF2E6A}" srcOrd="0" destOrd="0" presId="urn:microsoft.com/office/officeart/2005/8/layout/architecture"/>
    <dgm:cxn modelId="{C8B58524-33B3-44F8-8BC8-1FD497DB9BCB}" type="presParOf" srcId="{04CFD224-47B9-4740-85C5-27869E975EBD}" destId="{54AA577C-9EA8-4070-9234-7DE01FE1F281}" srcOrd="1" destOrd="0" presId="urn:microsoft.com/office/officeart/2005/8/layout/architecture"/>
    <dgm:cxn modelId="{1378A4C0-FAD3-47A4-8B84-A44C84F32B0D}" type="presParOf" srcId="{B536D2A5-09A8-40A9-B9B2-95A40A490E97}" destId="{439A1615-4820-49EA-B3CF-83905D4EF337}" srcOrd="7" destOrd="0" presId="urn:microsoft.com/office/officeart/2005/8/layout/architecture"/>
    <dgm:cxn modelId="{2B77D262-955C-43A0-BE54-547A297807CC}" type="presParOf" srcId="{B536D2A5-09A8-40A9-B9B2-95A40A490E97}" destId="{46B34DDF-9C3B-405B-9CAC-1D39BDBC2EEE}" srcOrd="8" destOrd="0" presId="urn:microsoft.com/office/officeart/2005/8/layout/architecture"/>
    <dgm:cxn modelId="{3E1D2094-3E51-425A-B206-0AB1AE1050C2}" type="presParOf" srcId="{46B34DDF-9C3B-405B-9CAC-1D39BDBC2EEE}" destId="{9A46057F-5CDA-4B57-BF6D-897D216AF86F}" srcOrd="0" destOrd="0" presId="urn:microsoft.com/office/officeart/2005/8/layout/architecture"/>
    <dgm:cxn modelId="{2AC9AE11-F5A3-47A3-99FB-46E4F009958B}" type="presParOf" srcId="{46B34DDF-9C3B-405B-9CAC-1D39BDBC2EEE}" destId="{DBC56214-4432-4434-8518-707CDC63F5BF}" srcOrd="1" destOrd="0" presId="urn:microsoft.com/office/officeart/2005/8/layout/architecture"/>
    <dgm:cxn modelId="{DB4A8B43-B4BA-4E07-8074-6CB05CD4EDA6}" type="presParOf" srcId="{2B2119DE-9C5F-42BD-90CA-B1F7EF735AF4}" destId="{38DD3712-FE5D-4944-89FA-AD709564BD3A}" srcOrd="1" destOrd="0" presId="urn:microsoft.com/office/officeart/2005/8/layout/architecture"/>
    <dgm:cxn modelId="{A022927A-6581-4085-9B1E-1A1B9241A5B9}" type="presParOf" srcId="{2B2119DE-9C5F-42BD-90CA-B1F7EF735AF4}" destId="{1C4B8FF2-A5B4-46BA-942A-8A19BEE69F70}" srcOrd="2" destOrd="0" presId="urn:microsoft.com/office/officeart/2005/8/layout/architecture"/>
    <dgm:cxn modelId="{F8F4D0D2-67F7-4012-95B0-9EAC6389B7AB}" type="presParOf" srcId="{1C4B8FF2-A5B4-46BA-942A-8A19BEE69F70}" destId="{1F321622-6935-42D4-AE83-D556256DD586}" srcOrd="0" destOrd="0" presId="urn:microsoft.com/office/officeart/2005/8/layout/architecture"/>
    <dgm:cxn modelId="{CA4ADC7B-CE63-4DDF-84CA-4F8D3C8299E5}" type="presParOf" srcId="{1C4B8FF2-A5B4-46BA-942A-8A19BEE69F70}" destId="{824137B6-FDCD-4837-BBD2-6FDD09327885}" srcOrd="1" destOrd="0" presId="urn:microsoft.com/office/officeart/2005/8/layout/architecture"/>
    <dgm:cxn modelId="{6044EE94-C166-49A1-BF1D-8458B8A6AB6E}" type="presParOf" srcId="{2B2119DE-9C5F-42BD-90CA-B1F7EF735AF4}" destId="{ECE19E2B-8C42-4059-9124-AF3EDDEFF355}" srcOrd="3" destOrd="0" presId="urn:microsoft.com/office/officeart/2005/8/layout/architecture"/>
    <dgm:cxn modelId="{4306862D-A5A7-4385-B9E7-87BDA51C6F4C}" type="presParOf" srcId="{2B2119DE-9C5F-42BD-90CA-B1F7EF735AF4}" destId="{915571E0-40F3-4E75-A71C-E935FB4D94B6}" srcOrd="4" destOrd="0" presId="urn:microsoft.com/office/officeart/2005/8/layout/architecture"/>
    <dgm:cxn modelId="{8428C0B9-B4E0-44D2-926E-0600BBB39387}" type="presParOf" srcId="{915571E0-40F3-4E75-A71C-E935FB4D94B6}" destId="{AF9421C1-0977-4165-AE01-1E0941FF1DC2}" srcOrd="0" destOrd="0" presId="urn:microsoft.com/office/officeart/2005/8/layout/architecture"/>
    <dgm:cxn modelId="{DD6084D8-02F4-4A7D-8393-EF295DCC57C0}" type="presParOf" srcId="{915571E0-40F3-4E75-A71C-E935FB4D94B6}" destId="{870B6F6E-AE96-4262-9B4A-86C432C82D5E}" srcOrd="1" destOrd="0" presId="urn:microsoft.com/office/officeart/2005/8/layout/archite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>
        <a:solidFill>
          <a:srgbClr val="7030A0"/>
        </a:solidFill>
        <a:ln>
          <a:solidFill>
            <a:schemeClr val="tx1"/>
          </a:solidFill>
        </a:ln>
      </dgm:spPr>
      <dgm:t>
        <a:bodyPr/>
        <a:lstStyle/>
        <a:p>
          <a:br>
            <a:rPr lang="pl-PL" sz="2000" dirty="0"/>
          </a:br>
          <a:r>
            <a:rPr lang="en-US" sz="2000" dirty="0"/>
            <a:t>UI</a:t>
          </a:r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>
        <a:solidFill>
          <a:schemeClr val="accent3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0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pl-PL" sz="2000" dirty="0"/>
            <a:t>BACKEND</a:t>
          </a:r>
          <a:endParaRPr lang="en-US" sz="2000" dirty="0"/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 custScaleY="66687" custLinFactNeighborX="502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 custScaleY="63097" custLinFactNeighborX="524" custLinFactNeighborY="-71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 custScaleY="64367" custLinFactNeighborY="3926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BBE8411-3190-4A3A-B989-51C1B2947291}" type="presOf" srcId="{F7E37FBC-8099-4DB3-B4F8-DBDE0DCEC1D7}" destId="{9BFA4AC6-E825-4477-B889-F9C66C1195B8}" srcOrd="0" destOrd="0" presId="urn:microsoft.com/office/officeart/2005/8/layout/pyramid1"/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1B795B21-46DE-4755-943C-F01105C75C15}" type="presOf" srcId="{40285531-BAEE-43E6-BBD4-8249575B1878}" destId="{D9074314-C21A-447C-9E4D-59C6F495C412}" srcOrd="0" destOrd="0" presId="urn:microsoft.com/office/officeart/2005/8/layout/pyramid1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B55B675F-1AC6-4E11-9CF0-F9AED92641B5}" type="presOf" srcId="{40285531-BAEE-43E6-BBD4-8249575B1878}" destId="{9A3F85C7-0AE1-424E-8646-B4248B01294E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470F893-7D7E-45B6-A670-AB2ACA3D5826}" type="presOf" srcId="{F7E37FBC-8099-4DB3-B4F8-DBDE0DCEC1D7}" destId="{7008F9DC-B4CA-4C47-ACF8-16602824A142}" srcOrd="1" destOrd="0" presId="urn:microsoft.com/office/officeart/2005/8/layout/pyramid1"/>
    <dgm:cxn modelId="{369F40CD-1451-46A3-9197-B631F07F4D34}" type="presOf" srcId="{6ED7E280-935A-4740-AB58-C0FAE580BFA8}" destId="{3DF1A04F-9824-4FA2-8E9B-69197A34DB02}" srcOrd="0" destOrd="0" presId="urn:microsoft.com/office/officeart/2005/8/layout/pyramid1"/>
    <dgm:cxn modelId="{338064E2-CA05-402C-B778-2BB888B9D52E}" type="presOf" srcId="{6160D3D4-613A-4519-A481-F89ADD5F7320}" destId="{891CA3F0-A4E4-43F8-949C-180B2AB3BCFE}" srcOrd="0" destOrd="0" presId="urn:microsoft.com/office/officeart/2005/8/layout/pyramid1"/>
    <dgm:cxn modelId="{63F8C2F3-CB24-433D-B098-C4D03AADA2D6}" type="presOf" srcId="{6ED7E280-935A-4740-AB58-C0FAE580BFA8}" destId="{B615F79F-706C-4309-9FFC-D94774F354E8}" srcOrd="1" destOrd="0" presId="urn:microsoft.com/office/officeart/2005/8/layout/pyramid1"/>
    <dgm:cxn modelId="{951B6FEC-DD2B-42BC-8A79-CF422BD9EFFA}" type="presParOf" srcId="{891CA3F0-A4E4-43F8-949C-180B2AB3BCFE}" destId="{24A053E9-ED32-40AA-8B2A-BD33F0C11AE2}" srcOrd="0" destOrd="0" presId="urn:microsoft.com/office/officeart/2005/8/layout/pyramid1"/>
    <dgm:cxn modelId="{B7C3F258-D632-4838-9E52-1B6E9767325C}" type="presParOf" srcId="{24A053E9-ED32-40AA-8B2A-BD33F0C11AE2}" destId="{9BFA4AC6-E825-4477-B889-F9C66C1195B8}" srcOrd="0" destOrd="0" presId="urn:microsoft.com/office/officeart/2005/8/layout/pyramid1"/>
    <dgm:cxn modelId="{53458D5B-F8AF-487B-A420-7BB925AD6C32}" type="presParOf" srcId="{24A053E9-ED32-40AA-8B2A-BD33F0C11AE2}" destId="{7008F9DC-B4CA-4C47-ACF8-16602824A142}" srcOrd="1" destOrd="0" presId="urn:microsoft.com/office/officeart/2005/8/layout/pyramid1"/>
    <dgm:cxn modelId="{571B8127-D607-4AEE-BB6F-FC06E4E97617}" type="presParOf" srcId="{891CA3F0-A4E4-43F8-949C-180B2AB3BCFE}" destId="{141F8D72-3F15-4CC5-95F4-F3EA15242490}" srcOrd="1" destOrd="0" presId="urn:microsoft.com/office/officeart/2005/8/layout/pyramid1"/>
    <dgm:cxn modelId="{95977A26-58CE-4D66-9B8D-9EDB9D4CAC50}" type="presParOf" srcId="{141F8D72-3F15-4CC5-95F4-F3EA15242490}" destId="{3DF1A04F-9824-4FA2-8E9B-69197A34DB02}" srcOrd="0" destOrd="0" presId="urn:microsoft.com/office/officeart/2005/8/layout/pyramid1"/>
    <dgm:cxn modelId="{5BFC64BE-3618-43D8-9A25-45308346F1BB}" type="presParOf" srcId="{141F8D72-3F15-4CC5-95F4-F3EA15242490}" destId="{B615F79F-706C-4309-9FFC-D94774F354E8}" srcOrd="1" destOrd="0" presId="urn:microsoft.com/office/officeart/2005/8/layout/pyramid1"/>
    <dgm:cxn modelId="{E784AAA4-333B-463A-A8C1-50E1D680DDF9}" type="presParOf" srcId="{891CA3F0-A4E4-43F8-949C-180B2AB3BCFE}" destId="{6B315756-5F49-4E5C-B814-8281ACC31042}" srcOrd="2" destOrd="0" presId="urn:microsoft.com/office/officeart/2005/8/layout/pyramid1"/>
    <dgm:cxn modelId="{FAD2DC6E-DAF8-4C98-A139-F4A09C8BE71C}" type="presParOf" srcId="{6B315756-5F49-4E5C-B814-8281ACC31042}" destId="{D9074314-C21A-447C-9E4D-59C6F495C412}" srcOrd="0" destOrd="0" presId="urn:microsoft.com/office/officeart/2005/8/layout/pyramid1"/>
    <dgm:cxn modelId="{03C408EF-023C-4948-9A09-A3CC2203B567}" type="presParOf" srcId="{6B315756-5F49-4E5C-B814-8281ACC31042}" destId="{9A3F85C7-0AE1-424E-8646-B4248B01294E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6" csCatId="colorful" phldr="1"/>
      <dgm:spPr/>
      <dgm:t>
        <a:bodyPr/>
        <a:lstStyle/>
        <a:p>
          <a:endParaRPr lang="en-US"/>
        </a:p>
      </dgm:t>
    </dgm:pt>
    <dgm:pt modelId="{9F55D7CF-8097-4194-8244-B89F07303527}">
      <dgm:prSet/>
      <dgm:spPr/>
      <dgm:t>
        <a:bodyPr/>
        <a:lstStyle/>
        <a:p>
          <a:pPr rtl="0"/>
          <a:r>
            <a:rPr lang="en-US" b="0" noProof="0" dirty="0"/>
            <a:t>Test case structure with Given When Then approach</a:t>
          </a:r>
          <a:endParaRPr lang="en-US" noProof="0" dirty="0"/>
        </a:p>
      </dgm:t>
    </dgm:pt>
    <dgm:pt modelId="{71B80231-6085-4C15-B487-3B1A2767A074}" type="parTrans" cxnId="{B51C1A01-DB8E-4309-84FA-007EBB17BAF6}">
      <dgm:prSet/>
      <dgm:spPr/>
      <dgm:t>
        <a:bodyPr/>
        <a:lstStyle/>
        <a:p>
          <a:endParaRPr lang="en-US"/>
        </a:p>
      </dgm:t>
    </dgm:pt>
    <dgm:pt modelId="{34E8E9D6-BAF0-4F3E-9BE8-2E41F1C3C941}" type="sibTrans" cxnId="{B51C1A01-DB8E-4309-84FA-007EBB17BAF6}">
      <dgm:prSet/>
      <dgm:spPr/>
      <dgm:t>
        <a:bodyPr/>
        <a:lstStyle/>
        <a:p>
          <a:endParaRPr lang="en-US"/>
        </a:p>
      </dgm:t>
    </dgm:pt>
    <dgm:pt modelId="{E7DDF01B-163C-41C8-B686-C320D2CB74AA}">
      <dgm:prSet/>
      <dgm:spPr/>
      <dgm:t>
        <a:bodyPr/>
        <a:lstStyle/>
        <a:p>
          <a:pPr rtl="0"/>
          <a:r>
            <a:rPr lang="en-US" b="0" noProof="0"/>
            <a:t>Page Object Model architecture</a:t>
          </a:r>
        </a:p>
      </dgm:t>
    </dgm:pt>
    <dgm:pt modelId="{F0762D0B-538B-4881-A6AA-91F8AD11B227}" type="parTrans" cxnId="{E7F5DE4E-3630-4554-AB12-C40DC12F3775}">
      <dgm:prSet/>
      <dgm:spPr/>
      <dgm:t>
        <a:bodyPr/>
        <a:lstStyle/>
        <a:p>
          <a:endParaRPr lang="en-US"/>
        </a:p>
      </dgm:t>
    </dgm:pt>
    <dgm:pt modelId="{F492D991-5B7A-455B-8F51-CD32FDC446FC}" type="sibTrans" cxnId="{E7F5DE4E-3630-4554-AB12-C40DC12F3775}">
      <dgm:prSet/>
      <dgm:spPr/>
      <dgm:t>
        <a:bodyPr/>
        <a:lstStyle/>
        <a:p>
          <a:endParaRPr lang="en-US"/>
        </a:p>
      </dgm:t>
    </dgm:pt>
    <dgm:pt modelId="{AFAF7FF3-0944-4061-9E89-DEC4B4679721}">
      <dgm:prSet/>
      <dgm:spPr/>
      <dgm:t>
        <a:bodyPr/>
        <a:lstStyle/>
        <a:p>
          <a:pPr rtl="0"/>
          <a:r>
            <a:rPr lang="en-US" b="0" noProof="0"/>
            <a:t>WebAPI for REST tests with RestAssure library and Java</a:t>
          </a:r>
          <a:endParaRPr lang="en-US" noProof="0"/>
        </a:p>
      </dgm:t>
    </dgm:pt>
    <dgm:pt modelId="{C816BAD8-9953-4A4A-8938-7B4D18475881}" type="parTrans" cxnId="{9CF0DA5B-9E46-456F-9921-B2153CBAB778}">
      <dgm:prSet/>
      <dgm:spPr/>
      <dgm:t>
        <a:bodyPr/>
        <a:lstStyle/>
        <a:p>
          <a:endParaRPr lang="en-US"/>
        </a:p>
      </dgm:t>
    </dgm:pt>
    <dgm:pt modelId="{C767E682-B45A-41FF-AF91-A16726A4E65F}" type="sibTrans" cxnId="{9CF0DA5B-9E46-456F-9921-B2153CBAB778}">
      <dgm:prSet/>
      <dgm:spPr/>
      <dgm:t>
        <a:bodyPr/>
        <a:lstStyle/>
        <a:p>
          <a:endParaRPr lang="en-US"/>
        </a:p>
      </dgm:t>
    </dgm:pt>
    <dgm:pt modelId="{74EA5702-BA09-4B67-8FCA-839AF3F44CEB}">
      <dgm:prSet/>
      <dgm:spPr/>
      <dgm:t>
        <a:bodyPr/>
        <a:lstStyle/>
        <a:p>
          <a:pPr rtl="0"/>
          <a:r>
            <a:rPr lang="en-US" b="0" noProof="0" dirty="0"/>
            <a:t>Easy to enhance into SOAP </a:t>
          </a:r>
        </a:p>
      </dgm:t>
    </dgm:pt>
    <dgm:pt modelId="{7F0A4F0E-EF8F-4666-A87A-B304C1510C5E}" type="parTrans" cxnId="{18952216-44B8-42D1-8F1E-EA834C4E974A}">
      <dgm:prSet/>
      <dgm:spPr/>
    </dgm:pt>
    <dgm:pt modelId="{6BDFD4B1-3C7D-4BD1-BEF6-B72BD0E6FF81}" type="sibTrans" cxnId="{18952216-44B8-42D1-8F1E-EA834C4E974A}">
      <dgm:prSet/>
      <dgm:spPr/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4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4"/>
      <dgm:spPr/>
    </dgm:pt>
    <dgm:pt modelId="{080232DF-F1AE-40A2-9FD4-410B9E4F6996}" type="pres">
      <dgm:prSet presAssocID="{7F0E5C44-F38F-4F59-B87E-A00E01F36002}" presName="dstNode" presStyleLbl="node1" presStyleIdx="0" presStyleCnt="4"/>
      <dgm:spPr/>
    </dgm:pt>
    <dgm:pt modelId="{A6384027-88DA-4DF0-9EA4-B824ACD9ED31}" type="pres">
      <dgm:prSet presAssocID="{AFAF7FF3-0944-4061-9E89-DEC4B4679721}" presName="text_1" presStyleLbl="node1" presStyleIdx="0" presStyleCnt="4">
        <dgm:presLayoutVars>
          <dgm:bulletEnabled val="1"/>
        </dgm:presLayoutVars>
      </dgm:prSet>
      <dgm:spPr/>
    </dgm:pt>
    <dgm:pt modelId="{E064BB96-7258-4102-8701-697A44FF3CCE}" type="pres">
      <dgm:prSet presAssocID="{AFAF7FF3-0944-4061-9E89-DEC4B4679721}" presName="accent_1" presStyleCnt="0"/>
      <dgm:spPr/>
    </dgm:pt>
    <dgm:pt modelId="{027132D5-AC2F-40F3-B0B9-276DCBF2C436}" type="pres">
      <dgm:prSet presAssocID="{AFAF7FF3-0944-4061-9E89-DEC4B4679721}" presName="accentRepeatNode" presStyleLbl="solidFgAcc1" presStyleIdx="0" presStyleCnt="4"/>
      <dgm:spPr/>
    </dgm:pt>
    <dgm:pt modelId="{D0D2D356-75B9-4F71-9A09-1360274E0708}" type="pres">
      <dgm:prSet presAssocID="{9F55D7CF-8097-4194-8244-B89F07303527}" presName="text_2" presStyleLbl="node1" presStyleIdx="1" presStyleCnt="4">
        <dgm:presLayoutVars>
          <dgm:bulletEnabled val="1"/>
        </dgm:presLayoutVars>
      </dgm:prSet>
      <dgm:spPr/>
    </dgm:pt>
    <dgm:pt modelId="{1CC7F41D-2213-4D6F-A24A-801C9269B503}" type="pres">
      <dgm:prSet presAssocID="{9F55D7CF-8097-4194-8244-B89F07303527}" presName="accent_2" presStyleCnt="0"/>
      <dgm:spPr/>
    </dgm:pt>
    <dgm:pt modelId="{876AAFB9-EF87-4539-844B-B2D7225647F2}" type="pres">
      <dgm:prSet presAssocID="{9F55D7CF-8097-4194-8244-B89F07303527}" presName="accentRepeatNode" presStyleLbl="solidFgAcc1" presStyleIdx="1" presStyleCnt="4"/>
      <dgm:spPr/>
    </dgm:pt>
    <dgm:pt modelId="{A61D5E6F-59BB-4E2E-8142-3270C9A5A2FC}" type="pres">
      <dgm:prSet presAssocID="{E7DDF01B-163C-41C8-B686-C320D2CB74AA}" presName="text_3" presStyleLbl="node1" presStyleIdx="2" presStyleCnt="4">
        <dgm:presLayoutVars>
          <dgm:bulletEnabled val="1"/>
        </dgm:presLayoutVars>
      </dgm:prSet>
      <dgm:spPr/>
    </dgm:pt>
    <dgm:pt modelId="{BC731336-33EE-4011-9D4C-700D001AE88E}" type="pres">
      <dgm:prSet presAssocID="{E7DDF01B-163C-41C8-B686-C320D2CB74AA}" presName="accent_3" presStyleCnt="0"/>
      <dgm:spPr/>
    </dgm:pt>
    <dgm:pt modelId="{6F18A62C-4246-41F1-8CB4-4C11073D703E}" type="pres">
      <dgm:prSet presAssocID="{E7DDF01B-163C-41C8-B686-C320D2CB74AA}" presName="accentRepeatNode" presStyleLbl="solidFgAcc1" presStyleIdx="2" presStyleCnt="4"/>
      <dgm:spPr/>
    </dgm:pt>
    <dgm:pt modelId="{EF99AC49-5909-4997-A638-3FA861CF84DC}" type="pres">
      <dgm:prSet presAssocID="{74EA5702-BA09-4B67-8FCA-839AF3F44CEB}" presName="text_4" presStyleLbl="node1" presStyleIdx="3" presStyleCnt="4">
        <dgm:presLayoutVars>
          <dgm:bulletEnabled val="1"/>
        </dgm:presLayoutVars>
      </dgm:prSet>
      <dgm:spPr/>
    </dgm:pt>
    <dgm:pt modelId="{F9662442-7F75-4BBE-B33E-670711AB931F}" type="pres">
      <dgm:prSet presAssocID="{74EA5702-BA09-4B67-8FCA-839AF3F44CEB}" presName="accent_4" presStyleCnt="0"/>
      <dgm:spPr/>
    </dgm:pt>
    <dgm:pt modelId="{C651CCD8-A471-496D-B0E7-ED7245514EC8}" type="pres">
      <dgm:prSet presAssocID="{74EA5702-BA09-4B67-8FCA-839AF3F44CEB}" presName="accentRepeatNode" presStyleLbl="solidFgAcc1" presStyleIdx="3" presStyleCnt="4"/>
      <dgm:spPr/>
    </dgm:pt>
  </dgm:ptLst>
  <dgm:cxnLst>
    <dgm:cxn modelId="{B51C1A01-DB8E-4309-84FA-007EBB17BAF6}" srcId="{7F0E5C44-F38F-4F59-B87E-A00E01F36002}" destId="{9F55D7CF-8097-4194-8244-B89F07303527}" srcOrd="1" destOrd="0" parTransId="{71B80231-6085-4C15-B487-3B1A2767A074}" sibTransId="{34E8E9D6-BAF0-4F3E-9BE8-2E41F1C3C941}"/>
    <dgm:cxn modelId="{19C98508-7D60-4FC6-841B-37724E435CAE}" type="presOf" srcId="{AFAF7FF3-0944-4061-9E89-DEC4B4679721}" destId="{A6384027-88DA-4DF0-9EA4-B824ACD9ED31}" srcOrd="0" destOrd="0" presId="urn:microsoft.com/office/officeart/2008/layout/VerticalCurvedList"/>
    <dgm:cxn modelId="{18952216-44B8-42D1-8F1E-EA834C4E974A}" srcId="{7F0E5C44-F38F-4F59-B87E-A00E01F36002}" destId="{74EA5702-BA09-4B67-8FCA-839AF3F44CEB}" srcOrd="3" destOrd="0" parTransId="{7F0A4F0E-EF8F-4666-A87A-B304C1510C5E}" sibTransId="{6BDFD4B1-3C7D-4BD1-BEF6-B72BD0E6FF81}"/>
    <dgm:cxn modelId="{9CF0DA5B-9E46-456F-9921-B2153CBAB778}" srcId="{7F0E5C44-F38F-4F59-B87E-A00E01F36002}" destId="{AFAF7FF3-0944-4061-9E89-DEC4B4679721}" srcOrd="0" destOrd="0" parTransId="{C816BAD8-9953-4A4A-8938-7B4D18475881}" sibTransId="{C767E682-B45A-41FF-AF91-A16726A4E65F}"/>
    <dgm:cxn modelId="{5C823D60-5FED-43CC-85AF-F2DF486A97CB}" type="presOf" srcId="{9F55D7CF-8097-4194-8244-B89F07303527}" destId="{D0D2D356-75B9-4F71-9A09-1360274E0708}" srcOrd="0" destOrd="0" presId="urn:microsoft.com/office/officeart/2008/layout/VerticalCurvedList"/>
    <dgm:cxn modelId="{B163F747-D6DD-4A1A-B41D-388F01D5486B}" type="presOf" srcId="{C767E682-B45A-41FF-AF91-A16726A4E65F}" destId="{A2DEE40E-0B66-4B91-8AC9-45EB49F811C8}" srcOrd="0" destOrd="0" presId="urn:microsoft.com/office/officeart/2008/layout/VerticalCurvedList"/>
    <dgm:cxn modelId="{E7F5DE4E-3630-4554-AB12-C40DC12F3775}" srcId="{7F0E5C44-F38F-4F59-B87E-A00E01F36002}" destId="{E7DDF01B-163C-41C8-B686-C320D2CB74AA}" srcOrd="2" destOrd="0" parTransId="{F0762D0B-538B-4881-A6AA-91F8AD11B227}" sibTransId="{F492D991-5B7A-455B-8F51-CD32FDC446FC}"/>
    <dgm:cxn modelId="{28B1287B-4817-434C-BB4E-BF905A89FD4E}" type="presOf" srcId="{E7DDF01B-163C-41C8-B686-C320D2CB74AA}" destId="{A61D5E6F-59BB-4E2E-8142-3270C9A5A2FC}" srcOrd="0" destOrd="0" presId="urn:microsoft.com/office/officeart/2008/layout/VerticalCurvedList"/>
    <dgm:cxn modelId="{F08AF987-D8DD-4402-B20B-D623C4B3258B}" type="presOf" srcId="{74EA5702-BA09-4B67-8FCA-839AF3F44CEB}" destId="{EF99AC49-5909-4997-A638-3FA861CF84DC}" srcOrd="0" destOrd="0" presId="urn:microsoft.com/office/officeart/2008/layout/VerticalCurvedList"/>
    <dgm:cxn modelId="{AD95B9B9-7834-4B70-AECA-0C7F30F65E19}" type="presOf" srcId="{7F0E5C44-F38F-4F59-B87E-A00E01F36002}" destId="{20B3E8DE-E296-4B0B-9297-3AD755DECFA4}" srcOrd="0" destOrd="0" presId="urn:microsoft.com/office/officeart/2008/layout/VerticalCurvedList"/>
    <dgm:cxn modelId="{C4CA0E1E-465D-4E6A-82B0-5C55FF85A442}" type="presParOf" srcId="{20B3E8DE-E296-4B0B-9297-3AD755DECFA4}" destId="{24C282F9-CC65-4ECF-B3E9-94A85C0AF7AC}" srcOrd="0" destOrd="0" presId="urn:microsoft.com/office/officeart/2008/layout/VerticalCurvedList"/>
    <dgm:cxn modelId="{AF36A326-ED37-4E6F-91BB-32653F6758D3}" type="presParOf" srcId="{24C282F9-CC65-4ECF-B3E9-94A85C0AF7AC}" destId="{E0BB4683-76B2-4A56-B37C-3465F67B753D}" srcOrd="0" destOrd="0" presId="urn:microsoft.com/office/officeart/2008/layout/VerticalCurvedList"/>
    <dgm:cxn modelId="{CA8DDE3C-BAB2-49B1-AFCC-8150CBB90938}" type="presParOf" srcId="{E0BB4683-76B2-4A56-B37C-3465F67B753D}" destId="{1604BA2B-9262-4FB9-BC42-0CFDF7DCDF42}" srcOrd="0" destOrd="0" presId="urn:microsoft.com/office/officeart/2008/layout/VerticalCurvedList"/>
    <dgm:cxn modelId="{D9F17F7E-A3B5-4BE7-8084-67E4B5E9F0EF}" type="presParOf" srcId="{E0BB4683-76B2-4A56-B37C-3465F67B753D}" destId="{A2DEE40E-0B66-4B91-8AC9-45EB49F811C8}" srcOrd="1" destOrd="0" presId="urn:microsoft.com/office/officeart/2008/layout/VerticalCurvedList"/>
    <dgm:cxn modelId="{3199C29A-CBCB-45D6-8874-023C4DF3BD6B}" type="presParOf" srcId="{E0BB4683-76B2-4A56-B37C-3465F67B753D}" destId="{EF74BBB2-5EF5-4416-845A-8434ECD2FC8B}" srcOrd="2" destOrd="0" presId="urn:microsoft.com/office/officeart/2008/layout/VerticalCurvedList"/>
    <dgm:cxn modelId="{F72284BF-0C54-4984-9B24-B91FE7FE5C7D}" type="presParOf" srcId="{E0BB4683-76B2-4A56-B37C-3465F67B753D}" destId="{080232DF-F1AE-40A2-9FD4-410B9E4F6996}" srcOrd="3" destOrd="0" presId="urn:microsoft.com/office/officeart/2008/layout/VerticalCurvedList"/>
    <dgm:cxn modelId="{C82B76E1-867D-4B19-B900-B66743F9188E}" type="presParOf" srcId="{24C282F9-CC65-4ECF-B3E9-94A85C0AF7AC}" destId="{A6384027-88DA-4DF0-9EA4-B824ACD9ED31}" srcOrd="1" destOrd="0" presId="urn:microsoft.com/office/officeart/2008/layout/VerticalCurvedList"/>
    <dgm:cxn modelId="{75DEAEF0-8A3E-4FCB-9353-BDADE23E990D}" type="presParOf" srcId="{24C282F9-CC65-4ECF-B3E9-94A85C0AF7AC}" destId="{E064BB96-7258-4102-8701-697A44FF3CCE}" srcOrd="2" destOrd="0" presId="urn:microsoft.com/office/officeart/2008/layout/VerticalCurvedList"/>
    <dgm:cxn modelId="{E345168A-C8C0-4F59-80BA-79C673A7CC5A}" type="presParOf" srcId="{E064BB96-7258-4102-8701-697A44FF3CCE}" destId="{027132D5-AC2F-40F3-B0B9-276DCBF2C436}" srcOrd="0" destOrd="0" presId="urn:microsoft.com/office/officeart/2008/layout/VerticalCurvedList"/>
    <dgm:cxn modelId="{098BDAA2-CF62-4625-8A85-CD8B5FC03DB1}" type="presParOf" srcId="{24C282F9-CC65-4ECF-B3E9-94A85C0AF7AC}" destId="{D0D2D356-75B9-4F71-9A09-1360274E0708}" srcOrd="3" destOrd="0" presId="urn:microsoft.com/office/officeart/2008/layout/VerticalCurvedList"/>
    <dgm:cxn modelId="{9423D763-BC74-4BEF-A379-B1A42BCD46FC}" type="presParOf" srcId="{24C282F9-CC65-4ECF-B3E9-94A85C0AF7AC}" destId="{1CC7F41D-2213-4D6F-A24A-801C9269B503}" srcOrd="4" destOrd="0" presId="urn:microsoft.com/office/officeart/2008/layout/VerticalCurvedList"/>
    <dgm:cxn modelId="{CC17014F-0C5D-410B-A2CA-EF7F7F29D56A}" type="presParOf" srcId="{1CC7F41D-2213-4D6F-A24A-801C9269B503}" destId="{876AAFB9-EF87-4539-844B-B2D7225647F2}" srcOrd="0" destOrd="0" presId="urn:microsoft.com/office/officeart/2008/layout/VerticalCurvedList"/>
    <dgm:cxn modelId="{24DB14F8-1C8F-4F19-9BC7-97DA763D6E70}" type="presParOf" srcId="{24C282F9-CC65-4ECF-B3E9-94A85C0AF7AC}" destId="{A61D5E6F-59BB-4E2E-8142-3270C9A5A2FC}" srcOrd="5" destOrd="0" presId="urn:microsoft.com/office/officeart/2008/layout/VerticalCurvedList"/>
    <dgm:cxn modelId="{3CB31C7E-1811-4455-B428-2D2C5257A6C9}" type="presParOf" srcId="{24C282F9-CC65-4ECF-B3E9-94A85C0AF7AC}" destId="{BC731336-33EE-4011-9D4C-700D001AE88E}" srcOrd="6" destOrd="0" presId="urn:microsoft.com/office/officeart/2008/layout/VerticalCurvedList"/>
    <dgm:cxn modelId="{21261E4E-36E9-416B-98B1-D7703C302230}" type="presParOf" srcId="{BC731336-33EE-4011-9D4C-700D001AE88E}" destId="{6F18A62C-4246-41F1-8CB4-4C11073D703E}" srcOrd="0" destOrd="0" presId="urn:microsoft.com/office/officeart/2008/layout/VerticalCurvedList"/>
    <dgm:cxn modelId="{9DBF64EC-73FE-47CD-94B3-F26479087CB8}" type="presParOf" srcId="{24C282F9-CC65-4ECF-B3E9-94A85C0AF7AC}" destId="{EF99AC49-5909-4997-A638-3FA861CF84DC}" srcOrd="7" destOrd="0" presId="urn:microsoft.com/office/officeart/2008/layout/VerticalCurvedList"/>
    <dgm:cxn modelId="{94EA4561-F28F-49F8-BCAB-7BA4223C5D2F}" type="presParOf" srcId="{24C282F9-CC65-4ECF-B3E9-94A85C0AF7AC}" destId="{F9662442-7F75-4BBE-B33E-670711AB931F}" srcOrd="8" destOrd="0" presId="urn:microsoft.com/office/officeart/2008/layout/VerticalCurvedList"/>
    <dgm:cxn modelId="{25838A24-95B2-48F3-A67A-E5616638B1E2}" type="presParOf" srcId="{F9662442-7F75-4BBE-B33E-670711AB931F}" destId="{C651CCD8-A471-496D-B0E7-ED7245514EC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vList6" loCatId="list" qsTypeId="urn:microsoft.com/office/officeart/2005/8/quickstyle/simple4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>
              <a:latin typeface="Calibri" pitchFamily="34" charset="0"/>
            </a:rPr>
            <a:t>Process defragmentation</a:t>
          </a:r>
          <a:endParaRPr lang="en-US" noProof="0"/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366663D8-057F-41FC-A4E7-33421AB89914}">
      <dgm:prSet/>
      <dgm:spPr/>
      <dgm:t>
        <a:bodyPr/>
        <a:lstStyle/>
        <a:p>
          <a:r>
            <a:rPr lang="en-US" noProof="0">
              <a:latin typeface="Calibri" pitchFamily="34" charset="0"/>
            </a:rPr>
            <a:t>Team silos</a:t>
          </a:r>
        </a:p>
      </dgm:t>
    </dgm:pt>
    <dgm:pt modelId="{ACE56FCD-FB96-449D-9606-BACBF83717B8}" type="parTrans" cxnId="{A79071EA-B800-405D-90B2-FD64C9384AF3}">
      <dgm:prSet/>
      <dgm:spPr/>
      <dgm:t>
        <a:bodyPr/>
        <a:lstStyle/>
        <a:p>
          <a:endParaRPr lang="en-US"/>
        </a:p>
      </dgm:t>
    </dgm:pt>
    <dgm:pt modelId="{3EB66A53-014B-454B-9226-17F54DCEFC3C}" type="sibTrans" cxnId="{A79071EA-B800-405D-90B2-FD64C9384AF3}">
      <dgm:prSet/>
      <dgm:spPr/>
      <dgm:t>
        <a:bodyPr/>
        <a:lstStyle/>
        <a:p>
          <a:endParaRPr lang="en-US"/>
        </a:p>
      </dgm:t>
    </dgm:pt>
    <dgm:pt modelId="{D698B333-EADF-4F84-A5AB-9301DD34F242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Validation at the last deliverable stage</a:t>
          </a:r>
        </a:p>
      </dgm:t>
    </dgm:pt>
    <dgm:pt modelId="{7D9A24DB-726F-42F4-B2B1-4E8D00E2912D}" type="parTrans" cxnId="{D3213530-4994-4B4E-BDE7-2F31DBD5356A}">
      <dgm:prSet/>
      <dgm:spPr/>
      <dgm:t>
        <a:bodyPr/>
        <a:lstStyle/>
        <a:p>
          <a:endParaRPr lang="en-US"/>
        </a:p>
      </dgm:t>
    </dgm:pt>
    <dgm:pt modelId="{E7B136D7-770E-482A-AA32-B15328E31267}" type="sibTrans" cxnId="{D3213530-4994-4B4E-BDE7-2F31DBD5356A}">
      <dgm:prSet/>
      <dgm:spPr/>
      <dgm:t>
        <a:bodyPr/>
        <a:lstStyle/>
        <a:p>
          <a:endParaRPr lang="en-US"/>
        </a:p>
      </dgm:t>
    </dgm:pt>
    <dgm:pt modelId="{8DC016DE-0E92-4392-8EF2-2F8F57DDADC8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Tools oriented approach</a:t>
          </a:r>
        </a:p>
      </dgm:t>
    </dgm:pt>
    <dgm:pt modelId="{1D349463-E3BE-4CF1-B8EE-6CC40C39F0D4}" type="parTrans" cxnId="{40607573-037B-430F-9769-8BC02804EA34}">
      <dgm:prSet/>
      <dgm:spPr/>
      <dgm:t>
        <a:bodyPr/>
        <a:lstStyle/>
        <a:p>
          <a:endParaRPr lang="en-US"/>
        </a:p>
      </dgm:t>
    </dgm:pt>
    <dgm:pt modelId="{3A045BBC-D5B9-4830-A4B2-76FA02FCB4CF}" type="sibTrans" cxnId="{40607573-037B-430F-9769-8BC02804EA34}">
      <dgm:prSet/>
      <dgm:spPr/>
      <dgm:t>
        <a:bodyPr/>
        <a:lstStyle/>
        <a:p>
          <a:endParaRPr lang="en-US"/>
        </a:p>
      </dgm:t>
    </dgm:pt>
    <dgm:pt modelId="{3E4076C3-D42C-45B7-AE06-68212D6714F3}" type="pres">
      <dgm:prSet presAssocID="{B9C32B05-62EA-407A-B21C-2310C7945705}" presName="Name0" presStyleCnt="0">
        <dgm:presLayoutVars>
          <dgm:dir/>
          <dgm:animLvl val="lvl"/>
          <dgm:resizeHandles/>
        </dgm:presLayoutVars>
      </dgm:prSet>
      <dgm:spPr/>
    </dgm:pt>
    <dgm:pt modelId="{B3306FA9-31B2-4688-A162-7E35CFE12D55}" type="pres">
      <dgm:prSet presAssocID="{42D71409-67F9-455C-8C6D-716D284AAA6B}" presName="linNode" presStyleCnt="0"/>
      <dgm:spPr/>
    </dgm:pt>
    <dgm:pt modelId="{5BC9D3B4-AF9C-4AF7-91E0-64CA69BFC99F}" type="pres">
      <dgm:prSet presAssocID="{42D71409-67F9-455C-8C6D-716D284AAA6B}" presName="parentShp" presStyleLbl="node1" presStyleIdx="0" presStyleCnt="4">
        <dgm:presLayoutVars>
          <dgm:bulletEnabled val="1"/>
        </dgm:presLayoutVars>
      </dgm:prSet>
      <dgm:spPr/>
    </dgm:pt>
    <dgm:pt modelId="{388CC475-44FF-4EF6-A0FF-7F5AB70B9092}" type="pres">
      <dgm:prSet presAssocID="{42D71409-67F9-455C-8C6D-716D284AAA6B}" presName="childShp" presStyleLbl="bgAccFollowNode1" presStyleIdx="0" presStyleCnt="4" custScaleX="26407">
        <dgm:presLayoutVars>
          <dgm:bulletEnabled val="1"/>
        </dgm:presLayoutVars>
      </dgm:prSet>
      <dgm:spPr/>
    </dgm:pt>
    <dgm:pt modelId="{230BAF5B-3631-4204-BBA8-52E03CD89186}" type="pres">
      <dgm:prSet presAssocID="{478B7D3C-9FB4-4BC6-90AC-49960560DECD}" presName="spacing" presStyleCnt="0"/>
      <dgm:spPr/>
    </dgm:pt>
    <dgm:pt modelId="{6334A1E6-8B26-49FB-BFAF-1748FBDCBE89}" type="pres">
      <dgm:prSet presAssocID="{366663D8-057F-41FC-A4E7-33421AB89914}" presName="linNode" presStyleCnt="0"/>
      <dgm:spPr/>
    </dgm:pt>
    <dgm:pt modelId="{C2CCEF63-634C-4D78-AC8C-3F4D429FDC05}" type="pres">
      <dgm:prSet presAssocID="{366663D8-057F-41FC-A4E7-33421AB89914}" presName="parentShp" presStyleLbl="node1" presStyleIdx="1" presStyleCnt="4">
        <dgm:presLayoutVars>
          <dgm:bulletEnabled val="1"/>
        </dgm:presLayoutVars>
      </dgm:prSet>
      <dgm:spPr/>
    </dgm:pt>
    <dgm:pt modelId="{D6E33E55-7CBC-4829-AC86-6026E66B94C0}" type="pres">
      <dgm:prSet presAssocID="{366663D8-057F-41FC-A4E7-33421AB89914}" presName="childShp" presStyleLbl="bgAccFollowNode1" presStyleIdx="1" presStyleCnt="4" custScaleX="26407">
        <dgm:presLayoutVars>
          <dgm:bulletEnabled val="1"/>
        </dgm:presLayoutVars>
      </dgm:prSet>
      <dgm:spPr/>
    </dgm:pt>
    <dgm:pt modelId="{6EB007B6-FA30-4F85-8565-5BDE6E2E6A68}" type="pres">
      <dgm:prSet presAssocID="{3EB66A53-014B-454B-9226-17F54DCEFC3C}" presName="spacing" presStyleCnt="0"/>
      <dgm:spPr/>
    </dgm:pt>
    <dgm:pt modelId="{9E5A93D7-E89D-4E84-9E8B-856621A88C5F}" type="pres">
      <dgm:prSet presAssocID="{D698B333-EADF-4F84-A5AB-9301DD34F242}" presName="linNode" presStyleCnt="0"/>
      <dgm:spPr/>
    </dgm:pt>
    <dgm:pt modelId="{E6AD3F7E-70F2-42DF-9148-394CBC172CD2}" type="pres">
      <dgm:prSet presAssocID="{D698B333-EADF-4F84-A5AB-9301DD34F242}" presName="parentShp" presStyleLbl="node1" presStyleIdx="2" presStyleCnt="4">
        <dgm:presLayoutVars>
          <dgm:bulletEnabled val="1"/>
        </dgm:presLayoutVars>
      </dgm:prSet>
      <dgm:spPr/>
    </dgm:pt>
    <dgm:pt modelId="{88B7029B-AE09-47A0-8EDC-1BF164FBAB1B}" type="pres">
      <dgm:prSet presAssocID="{D698B333-EADF-4F84-A5AB-9301DD34F242}" presName="childShp" presStyleLbl="bgAccFollowNode1" presStyleIdx="2" presStyleCnt="4" custFlipHor="0" custScaleX="26407">
        <dgm:presLayoutVars>
          <dgm:bulletEnabled val="1"/>
        </dgm:presLayoutVars>
      </dgm:prSet>
      <dgm:spPr/>
    </dgm:pt>
    <dgm:pt modelId="{9F04BA5F-E3D0-4117-BBA8-5FCC7D6367E6}" type="pres">
      <dgm:prSet presAssocID="{E7B136D7-770E-482A-AA32-B15328E31267}" presName="spacing" presStyleCnt="0"/>
      <dgm:spPr/>
    </dgm:pt>
    <dgm:pt modelId="{7A1098E2-DBC1-4D9C-AC7A-25C136E19484}" type="pres">
      <dgm:prSet presAssocID="{8DC016DE-0E92-4392-8EF2-2F8F57DDADC8}" presName="linNode" presStyleCnt="0"/>
      <dgm:spPr/>
    </dgm:pt>
    <dgm:pt modelId="{F56B193F-A5FA-415D-B67A-374661462EFC}" type="pres">
      <dgm:prSet presAssocID="{8DC016DE-0E92-4392-8EF2-2F8F57DDADC8}" presName="parentShp" presStyleLbl="node1" presStyleIdx="3" presStyleCnt="4">
        <dgm:presLayoutVars>
          <dgm:bulletEnabled val="1"/>
        </dgm:presLayoutVars>
      </dgm:prSet>
      <dgm:spPr/>
    </dgm:pt>
    <dgm:pt modelId="{D83CAC71-BA4B-478D-842E-BF9523242B74}" type="pres">
      <dgm:prSet presAssocID="{8DC016DE-0E92-4392-8EF2-2F8F57DDADC8}" presName="childShp" presStyleLbl="bgAccFollowNode1" presStyleIdx="3" presStyleCnt="4" custScaleX="26407">
        <dgm:presLayoutVars>
          <dgm:bulletEnabled val="1"/>
        </dgm:presLayoutVars>
      </dgm:prSet>
      <dgm:spPr/>
    </dgm:pt>
  </dgm:ptLst>
  <dgm:cxnLst>
    <dgm:cxn modelId="{7B29A115-47A9-4771-A57F-6F39E81F11DF}" type="presOf" srcId="{42D71409-67F9-455C-8C6D-716D284AAA6B}" destId="{5BC9D3B4-AF9C-4AF7-91E0-64CA69BFC99F}" srcOrd="0" destOrd="0" presId="urn:microsoft.com/office/officeart/2005/8/layout/vList6"/>
    <dgm:cxn modelId="{1ED8B817-2D66-4B0F-B510-D3537CF57B41}" type="presOf" srcId="{D698B333-EADF-4F84-A5AB-9301DD34F242}" destId="{E6AD3F7E-70F2-42DF-9148-394CBC172CD2}" srcOrd="0" destOrd="0" presId="urn:microsoft.com/office/officeart/2005/8/layout/vList6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D3213530-4994-4B4E-BDE7-2F31DBD5356A}" srcId="{B9C32B05-62EA-407A-B21C-2310C7945705}" destId="{D698B333-EADF-4F84-A5AB-9301DD34F242}" srcOrd="2" destOrd="0" parTransId="{7D9A24DB-726F-42F4-B2B1-4E8D00E2912D}" sibTransId="{E7B136D7-770E-482A-AA32-B15328E31267}"/>
    <dgm:cxn modelId="{40607573-037B-430F-9769-8BC02804EA34}" srcId="{B9C32B05-62EA-407A-B21C-2310C7945705}" destId="{8DC016DE-0E92-4392-8EF2-2F8F57DDADC8}" srcOrd="3" destOrd="0" parTransId="{1D349463-E3BE-4CF1-B8EE-6CC40C39F0D4}" sibTransId="{3A045BBC-D5B9-4830-A4B2-76FA02FCB4CF}"/>
    <dgm:cxn modelId="{AE8CB5E3-0D20-4F3E-B61F-C082E781CA45}" type="presOf" srcId="{366663D8-057F-41FC-A4E7-33421AB89914}" destId="{C2CCEF63-634C-4D78-AC8C-3F4D429FDC05}" srcOrd="0" destOrd="0" presId="urn:microsoft.com/office/officeart/2005/8/layout/vList6"/>
    <dgm:cxn modelId="{A79071EA-B800-405D-90B2-FD64C9384AF3}" srcId="{B9C32B05-62EA-407A-B21C-2310C7945705}" destId="{366663D8-057F-41FC-A4E7-33421AB89914}" srcOrd="1" destOrd="0" parTransId="{ACE56FCD-FB96-449D-9606-BACBF83717B8}" sibTransId="{3EB66A53-014B-454B-9226-17F54DCEFC3C}"/>
    <dgm:cxn modelId="{663DD4EC-569D-495C-B480-096EC9791333}" type="presOf" srcId="{8DC016DE-0E92-4392-8EF2-2F8F57DDADC8}" destId="{F56B193F-A5FA-415D-B67A-374661462EFC}" srcOrd="0" destOrd="0" presId="urn:microsoft.com/office/officeart/2005/8/layout/vList6"/>
    <dgm:cxn modelId="{6CEFE9FD-EE7E-4780-B590-8F699E034E8B}" type="presOf" srcId="{B9C32B05-62EA-407A-B21C-2310C7945705}" destId="{3E4076C3-D42C-45B7-AE06-68212D6714F3}" srcOrd="0" destOrd="0" presId="urn:microsoft.com/office/officeart/2005/8/layout/vList6"/>
    <dgm:cxn modelId="{DFFA77D7-745B-45B0-B908-835773DC89E9}" type="presParOf" srcId="{3E4076C3-D42C-45B7-AE06-68212D6714F3}" destId="{B3306FA9-31B2-4688-A162-7E35CFE12D55}" srcOrd="0" destOrd="0" presId="urn:microsoft.com/office/officeart/2005/8/layout/vList6"/>
    <dgm:cxn modelId="{16DE7F24-6FAC-494A-ADB8-C18CC538A206}" type="presParOf" srcId="{B3306FA9-31B2-4688-A162-7E35CFE12D55}" destId="{5BC9D3B4-AF9C-4AF7-91E0-64CA69BFC99F}" srcOrd="0" destOrd="0" presId="urn:microsoft.com/office/officeart/2005/8/layout/vList6"/>
    <dgm:cxn modelId="{62C6D12D-A7CE-44F7-9B3B-56B4946961D6}" type="presParOf" srcId="{B3306FA9-31B2-4688-A162-7E35CFE12D55}" destId="{388CC475-44FF-4EF6-A0FF-7F5AB70B9092}" srcOrd="1" destOrd="0" presId="urn:microsoft.com/office/officeart/2005/8/layout/vList6"/>
    <dgm:cxn modelId="{7C330A13-D464-4051-B84B-1E19DEDCC050}" type="presParOf" srcId="{3E4076C3-D42C-45B7-AE06-68212D6714F3}" destId="{230BAF5B-3631-4204-BBA8-52E03CD89186}" srcOrd="1" destOrd="0" presId="urn:microsoft.com/office/officeart/2005/8/layout/vList6"/>
    <dgm:cxn modelId="{4A6AE8C3-33B4-4528-B667-E9BC234326AF}" type="presParOf" srcId="{3E4076C3-D42C-45B7-AE06-68212D6714F3}" destId="{6334A1E6-8B26-49FB-BFAF-1748FBDCBE89}" srcOrd="2" destOrd="0" presId="urn:microsoft.com/office/officeart/2005/8/layout/vList6"/>
    <dgm:cxn modelId="{EF17F7C3-5ADD-4052-B977-314B9A037BB8}" type="presParOf" srcId="{6334A1E6-8B26-49FB-BFAF-1748FBDCBE89}" destId="{C2CCEF63-634C-4D78-AC8C-3F4D429FDC05}" srcOrd="0" destOrd="0" presId="urn:microsoft.com/office/officeart/2005/8/layout/vList6"/>
    <dgm:cxn modelId="{DF0BE793-6186-4096-AE52-32D5AFF53B42}" type="presParOf" srcId="{6334A1E6-8B26-49FB-BFAF-1748FBDCBE89}" destId="{D6E33E55-7CBC-4829-AC86-6026E66B94C0}" srcOrd="1" destOrd="0" presId="urn:microsoft.com/office/officeart/2005/8/layout/vList6"/>
    <dgm:cxn modelId="{E471396A-1D01-47DE-8064-210E8747DC98}" type="presParOf" srcId="{3E4076C3-D42C-45B7-AE06-68212D6714F3}" destId="{6EB007B6-FA30-4F85-8565-5BDE6E2E6A68}" srcOrd="3" destOrd="0" presId="urn:microsoft.com/office/officeart/2005/8/layout/vList6"/>
    <dgm:cxn modelId="{80CB612B-9DA0-41C9-A82F-8B6EDD38BD16}" type="presParOf" srcId="{3E4076C3-D42C-45B7-AE06-68212D6714F3}" destId="{9E5A93D7-E89D-4E84-9E8B-856621A88C5F}" srcOrd="4" destOrd="0" presId="urn:microsoft.com/office/officeart/2005/8/layout/vList6"/>
    <dgm:cxn modelId="{33643767-BB1B-456F-BF6E-4F6A6E446EBD}" type="presParOf" srcId="{9E5A93D7-E89D-4E84-9E8B-856621A88C5F}" destId="{E6AD3F7E-70F2-42DF-9148-394CBC172CD2}" srcOrd="0" destOrd="0" presId="urn:microsoft.com/office/officeart/2005/8/layout/vList6"/>
    <dgm:cxn modelId="{108AEA44-C66B-4702-8147-4178B1E54F8B}" type="presParOf" srcId="{9E5A93D7-E89D-4E84-9E8B-856621A88C5F}" destId="{88B7029B-AE09-47A0-8EDC-1BF164FBAB1B}" srcOrd="1" destOrd="0" presId="urn:microsoft.com/office/officeart/2005/8/layout/vList6"/>
    <dgm:cxn modelId="{7E62476A-4F4E-4DB2-B6A0-E910FA47A755}" type="presParOf" srcId="{3E4076C3-D42C-45B7-AE06-68212D6714F3}" destId="{9F04BA5F-E3D0-4117-BBA8-5FCC7D6367E6}" srcOrd="5" destOrd="0" presId="urn:microsoft.com/office/officeart/2005/8/layout/vList6"/>
    <dgm:cxn modelId="{5D4DC8A5-1067-4B71-82E0-879B5DF0387A}" type="presParOf" srcId="{3E4076C3-D42C-45B7-AE06-68212D6714F3}" destId="{7A1098E2-DBC1-4D9C-AC7A-25C136E19484}" srcOrd="6" destOrd="0" presId="urn:microsoft.com/office/officeart/2005/8/layout/vList6"/>
    <dgm:cxn modelId="{01B0366A-8045-4F84-89CD-AB9569AC9C2C}" type="presParOf" srcId="{7A1098E2-DBC1-4D9C-AC7A-25C136E19484}" destId="{F56B193F-A5FA-415D-B67A-374661462EFC}" srcOrd="0" destOrd="0" presId="urn:microsoft.com/office/officeart/2005/8/layout/vList6"/>
    <dgm:cxn modelId="{F4655888-62BA-4D38-88A6-8F12ECBBFAFF}" type="presParOf" srcId="{7A1098E2-DBC1-4D9C-AC7A-25C136E19484}" destId="{D83CAC71-BA4B-478D-842E-BF9523242B74}" srcOrd="1" destOrd="0" presId="urn:microsoft.com/office/officeart/2005/8/layout/vList6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079CBFBB-0FA2-4D7D-B1C9-F84280ADEE64}" type="doc">
      <dgm:prSet loTypeId="urn:microsoft.com/office/officeart/2005/8/layout/hierarchy1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564A9936-E94A-41E5-B48B-AC3C9B657DF1}">
      <dgm:prSet phldrT="[Text]"/>
      <dgm:spPr>
        <a:solidFill>
          <a:schemeClr val="accent1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b="1" noProof="0">
              <a:solidFill>
                <a:schemeClr val="bg1"/>
              </a:solidFill>
            </a:rPr>
            <a:t>Define the scope of security assurance</a:t>
          </a:r>
        </a:p>
      </dgm:t>
    </dgm:pt>
    <dgm:pt modelId="{C8C013FB-CA7E-4A3D-8FA4-A7FA4B0004F8}" type="parTrans" cxnId="{85C08B23-07EF-493C-8D4C-9DBE29DB2088}">
      <dgm:prSet/>
      <dgm:spPr/>
      <dgm:t>
        <a:bodyPr/>
        <a:lstStyle/>
        <a:p>
          <a:endParaRPr lang="de-DE"/>
        </a:p>
      </dgm:t>
    </dgm:pt>
    <dgm:pt modelId="{897916E6-A604-424D-B1AF-22EB81151836}" type="sibTrans" cxnId="{85C08B23-07EF-493C-8D4C-9DBE29DB2088}">
      <dgm:prSet/>
      <dgm:spPr/>
      <dgm:t>
        <a:bodyPr/>
        <a:lstStyle/>
        <a:p>
          <a:endParaRPr lang="de-DE"/>
        </a:p>
      </dgm:t>
    </dgm:pt>
    <dgm:pt modelId="{35045CF8-5722-44DF-B922-5C978A934E45}">
      <dgm:prSet phldrT="[Text]"/>
      <dgm:spPr>
        <a:solidFill>
          <a:schemeClr val="accent4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b="1" noProof="0">
              <a:solidFill>
                <a:schemeClr val="bg1"/>
              </a:solidFill>
            </a:rPr>
            <a:t>Derive user stories</a:t>
          </a:r>
        </a:p>
      </dgm:t>
    </dgm:pt>
    <dgm:pt modelId="{C20BDC98-2E45-4026-8DC7-8C83F69F63C9}" type="parTrans" cxnId="{FCBC36C3-B853-484F-B315-D06D2110B5B2}">
      <dgm:prSet/>
      <dgm:spPr/>
      <dgm:t>
        <a:bodyPr/>
        <a:lstStyle/>
        <a:p>
          <a:endParaRPr lang="de-DE"/>
        </a:p>
      </dgm:t>
    </dgm:pt>
    <dgm:pt modelId="{7862FC69-9FCF-4AF2-A535-265C4A8BE315}" type="sibTrans" cxnId="{FCBC36C3-B853-484F-B315-D06D2110B5B2}">
      <dgm:prSet/>
      <dgm:spPr/>
      <dgm:t>
        <a:bodyPr/>
        <a:lstStyle/>
        <a:p>
          <a:endParaRPr lang="de-DE"/>
        </a:p>
      </dgm:t>
    </dgm:pt>
    <dgm:pt modelId="{12B89FB0-DAA0-4650-A3CC-9A4369753BE8}">
      <dgm:prSet phldrT="[Text]"/>
      <dgm:spPr/>
      <dgm:t>
        <a:bodyPr/>
        <a:lstStyle/>
        <a:p>
          <a:r>
            <a:rPr lang="en-US" noProof="0" dirty="0"/>
            <a:t>Static code analysis</a:t>
          </a:r>
        </a:p>
      </dgm:t>
    </dgm:pt>
    <dgm:pt modelId="{B4102349-5868-4F97-A9FE-9B6F8243DBF5}" type="parTrans" cxnId="{8B4EE95C-32AB-4BB5-A0C6-73997945B956}">
      <dgm:prSet/>
      <dgm:spPr/>
      <dgm:t>
        <a:bodyPr/>
        <a:lstStyle/>
        <a:p>
          <a:endParaRPr lang="de-DE"/>
        </a:p>
      </dgm:t>
    </dgm:pt>
    <dgm:pt modelId="{2AEC5DED-AE12-4F9E-8C15-46DF38F9135D}" type="sibTrans" cxnId="{8B4EE95C-32AB-4BB5-A0C6-73997945B956}">
      <dgm:prSet/>
      <dgm:spPr/>
      <dgm:t>
        <a:bodyPr/>
        <a:lstStyle/>
        <a:p>
          <a:endParaRPr lang="de-DE"/>
        </a:p>
      </dgm:t>
    </dgm:pt>
    <dgm:pt modelId="{2D7B56A0-6D3B-452E-8EBC-A6F8C74E0452}">
      <dgm:prSet phldrT="[Text]"/>
      <dgm:spPr/>
      <dgm:t>
        <a:bodyPr/>
        <a:lstStyle/>
        <a:p>
          <a:r>
            <a:rPr lang="en-US" noProof="0"/>
            <a:t>Dynamic code analysis</a:t>
          </a:r>
        </a:p>
      </dgm:t>
    </dgm:pt>
    <dgm:pt modelId="{5DC1D70F-4488-4033-9A4F-B1DAE829DFDB}" type="parTrans" cxnId="{36A4F1F6-2C94-4CD1-9A1B-4DB2DF1E64D1}">
      <dgm:prSet/>
      <dgm:spPr/>
      <dgm:t>
        <a:bodyPr/>
        <a:lstStyle/>
        <a:p>
          <a:endParaRPr lang="de-DE"/>
        </a:p>
      </dgm:t>
    </dgm:pt>
    <dgm:pt modelId="{02E38315-02F5-449A-BE86-20073FE07905}" type="sibTrans" cxnId="{36A4F1F6-2C94-4CD1-9A1B-4DB2DF1E64D1}">
      <dgm:prSet/>
      <dgm:spPr/>
      <dgm:t>
        <a:bodyPr/>
        <a:lstStyle/>
        <a:p>
          <a:endParaRPr lang="de-DE"/>
        </a:p>
      </dgm:t>
    </dgm:pt>
    <dgm:pt modelId="{429ED09B-4499-40A1-A163-B16864C24186}">
      <dgm:prSet phldrT="[Text]"/>
      <dgm:spPr>
        <a:solidFill>
          <a:schemeClr val="accent5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b="1" noProof="0">
              <a:solidFill>
                <a:schemeClr val="bg1"/>
              </a:solidFill>
            </a:rPr>
            <a:t>Custom unit tests</a:t>
          </a:r>
        </a:p>
      </dgm:t>
    </dgm:pt>
    <dgm:pt modelId="{D591A354-63BD-42BF-8612-32B313E2C0A3}" type="parTrans" cxnId="{049F729F-29E8-4B0F-BA6D-84BA059FAA3F}">
      <dgm:prSet/>
      <dgm:spPr/>
      <dgm:t>
        <a:bodyPr/>
        <a:lstStyle/>
        <a:p>
          <a:endParaRPr lang="de-DE"/>
        </a:p>
      </dgm:t>
    </dgm:pt>
    <dgm:pt modelId="{FB4885F3-C5B1-4777-9FDC-644420A95164}" type="sibTrans" cxnId="{049F729F-29E8-4B0F-BA6D-84BA059FAA3F}">
      <dgm:prSet/>
      <dgm:spPr/>
      <dgm:t>
        <a:bodyPr/>
        <a:lstStyle/>
        <a:p>
          <a:endParaRPr lang="de-DE"/>
        </a:p>
      </dgm:t>
    </dgm:pt>
    <dgm:pt modelId="{28E70F23-8942-4405-98F7-1E5AEB680744}">
      <dgm:prSet phldrT="[Text]"/>
      <dgm:spPr/>
      <dgm:t>
        <a:bodyPr/>
        <a:lstStyle/>
        <a:p>
          <a:r>
            <a:rPr lang="en-US" noProof="0" dirty="0"/>
            <a:t>Code security</a:t>
          </a:r>
          <a:r>
            <a:rPr lang="pl-PL" noProof="0" dirty="0"/>
            <a:t> * </a:t>
          </a:r>
          <a:endParaRPr lang="en-US" noProof="0" dirty="0"/>
        </a:p>
      </dgm:t>
    </dgm:pt>
    <dgm:pt modelId="{B97F0FC2-ED2B-4EF6-B18B-48AA159B02F1}" type="parTrans" cxnId="{C123D660-65C6-4D7A-BAA7-7001DC6BCA73}">
      <dgm:prSet/>
      <dgm:spPr/>
      <dgm:t>
        <a:bodyPr/>
        <a:lstStyle/>
        <a:p>
          <a:endParaRPr lang="de-DE"/>
        </a:p>
      </dgm:t>
    </dgm:pt>
    <dgm:pt modelId="{1E152937-6F9D-495C-A31F-4FA9BE0B5A40}" type="sibTrans" cxnId="{C123D660-65C6-4D7A-BAA7-7001DC6BCA73}">
      <dgm:prSet/>
      <dgm:spPr/>
      <dgm:t>
        <a:bodyPr/>
        <a:lstStyle/>
        <a:p>
          <a:endParaRPr lang="de-DE"/>
        </a:p>
      </dgm:t>
    </dgm:pt>
    <dgm:pt modelId="{C063EE59-0E67-45BE-B10A-6F29EE432F6B}">
      <dgm:prSet phldrT="[Text]"/>
      <dgm:spPr/>
      <dgm:t>
        <a:bodyPr/>
        <a:lstStyle/>
        <a:p>
          <a:r>
            <a:rPr lang="en-US" noProof="0" dirty="0"/>
            <a:t>Vulnerable library detection</a:t>
          </a:r>
          <a:r>
            <a:rPr lang="pl-PL" noProof="0" dirty="0"/>
            <a:t> * </a:t>
          </a:r>
          <a:endParaRPr lang="en-US" noProof="0" dirty="0"/>
        </a:p>
      </dgm:t>
    </dgm:pt>
    <dgm:pt modelId="{74F2FD4E-FA78-4AE1-9522-1BD4F630C3C6}" type="parTrans" cxnId="{158814DF-F56D-4EA0-9AC5-48C7EDFD2998}">
      <dgm:prSet/>
      <dgm:spPr/>
      <dgm:t>
        <a:bodyPr/>
        <a:lstStyle/>
        <a:p>
          <a:endParaRPr lang="de-DE"/>
        </a:p>
      </dgm:t>
    </dgm:pt>
    <dgm:pt modelId="{9E9DD40B-FFE4-4426-A071-7EF55BA4AFEA}" type="sibTrans" cxnId="{158814DF-F56D-4EA0-9AC5-48C7EDFD2998}">
      <dgm:prSet/>
      <dgm:spPr/>
      <dgm:t>
        <a:bodyPr/>
        <a:lstStyle/>
        <a:p>
          <a:endParaRPr lang="de-DE"/>
        </a:p>
      </dgm:t>
    </dgm:pt>
    <dgm:pt modelId="{8A7E3254-092B-4C68-89D9-788115553669}">
      <dgm:prSet phldrT="[Text]"/>
      <dgm:spPr/>
      <dgm:t>
        <a:bodyPr/>
        <a:lstStyle/>
        <a:p>
          <a:r>
            <a:rPr lang="en-US" noProof="0" dirty="0"/>
            <a:t>Proxy active scan</a:t>
          </a:r>
          <a:r>
            <a:rPr lang="pl-PL" noProof="0" dirty="0"/>
            <a:t> * </a:t>
          </a:r>
          <a:endParaRPr lang="en-US" noProof="0" dirty="0"/>
        </a:p>
      </dgm:t>
    </dgm:pt>
    <dgm:pt modelId="{860ED5BE-7B67-4AE1-828D-4330F2ADBB3F}" type="parTrans" cxnId="{2EEA664F-7721-466E-8A4A-DF27C81682EA}">
      <dgm:prSet/>
      <dgm:spPr/>
      <dgm:t>
        <a:bodyPr/>
        <a:lstStyle/>
        <a:p>
          <a:endParaRPr lang="de-DE"/>
        </a:p>
      </dgm:t>
    </dgm:pt>
    <dgm:pt modelId="{0F74DE18-1E41-49AF-BF68-2333992FC727}" type="sibTrans" cxnId="{2EEA664F-7721-466E-8A4A-DF27C81682EA}">
      <dgm:prSet/>
      <dgm:spPr/>
      <dgm:t>
        <a:bodyPr/>
        <a:lstStyle/>
        <a:p>
          <a:endParaRPr lang="de-DE"/>
        </a:p>
      </dgm:t>
    </dgm:pt>
    <dgm:pt modelId="{6DF29448-578A-48F4-8B5C-529D460DF6D8}">
      <dgm:prSet phldrT="[Text]"/>
      <dgm:spPr/>
      <dgm:t>
        <a:bodyPr/>
        <a:lstStyle/>
        <a:p>
          <a:r>
            <a:rPr lang="en-US" noProof="0" dirty="0"/>
            <a:t>TLS configuration scan</a:t>
          </a:r>
          <a:r>
            <a:rPr lang="pl-PL" noProof="0" dirty="0"/>
            <a:t> * </a:t>
          </a:r>
          <a:endParaRPr lang="en-US" noProof="0" dirty="0"/>
        </a:p>
      </dgm:t>
    </dgm:pt>
    <dgm:pt modelId="{B0F717AB-1CD5-4E89-8C93-40EFB266B1E8}" type="parTrans" cxnId="{FFB813FB-8F16-46CC-A5C4-06A5269E03E5}">
      <dgm:prSet/>
      <dgm:spPr/>
      <dgm:t>
        <a:bodyPr/>
        <a:lstStyle/>
        <a:p>
          <a:endParaRPr lang="de-DE"/>
        </a:p>
      </dgm:t>
    </dgm:pt>
    <dgm:pt modelId="{5D6C2BD1-3BB2-4D82-92D2-A2C6C52A5457}" type="sibTrans" cxnId="{FFB813FB-8F16-46CC-A5C4-06A5269E03E5}">
      <dgm:prSet/>
      <dgm:spPr/>
      <dgm:t>
        <a:bodyPr/>
        <a:lstStyle/>
        <a:p>
          <a:endParaRPr lang="de-DE"/>
        </a:p>
      </dgm:t>
    </dgm:pt>
    <dgm:pt modelId="{01C82FC9-41BD-4AF6-B7BC-0131B2F3FD81}">
      <dgm:prSet phldrT="[Text]"/>
      <dgm:spPr>
        <a:solidFill>
          <a:schemeClr val="accent6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b="1" noProof="0">
              <a:solidFill>
                <a:schemeClr val="bg1"/>
              </a:solidFill>
            </a:rPr>
            <a:t>BDD Security</a:t>
          </a:r>
        </a:p>
      </dgm:t>
    </dgm:pt>
    <dgm:pt modelId="{7E31C0D9-F5D4-4FBA-8164-D48F011B68C4}" type="parTrans" cxnId="{A036CE27-0CC2-4E71-A865-DB2A279DF3B7}">
      <dgm:prSet/>
      <dgm:spPr/>
      <dgm:t>
        <a:bodyPr/>
        <a:lstStyle/>
        <a:p>
          <a:endParaRPr lang="de-DE"/>
        </a:p>
      </dgm:t>
    </dgm:pt>
    <dgm:pt modelId="{E3EDDB05-DE26-4CDE-8565-EC2857CC43E8}" type="sibTrans" cxnId="{A036CE27-0CC2-4E71-A865-DB2A279DF3B7}">
      <dgm:prSet/>
      <dgm:spPr/>
      <dgm:t>
        <a:bodyPr/>
        <a:lstStyle/>
        <a:p>
          <a:endParaRPr lang="de-DE"/>
        </a:p>
      </dgm:t>
    </dgm:pt>
    <dgm:pt modelId="{FBA6703F-00F5-451E-879E-A67DDF1ED825}">
      <dgm:prSet phldrT="[Text]"/>
      <dgm:spPr>
        <a:solidFill>
          <a:schemeClr val="accent6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b="1" noProof="0" dirty="0">
              <a:solidFill>
                <a:schemeClr val="bg1"/>
              </a:solidFill>
            </a:rPr>
            <a:t>Other</a:t>
          </a:r>
        </a:p>
      </dgm:t>
    </dgm:pt>
    <dgm:pt modelId="{F781412D-D24A-41F4-9A37-3C3377ECB5A4}" type="parTrans" cxnId="{2D0BA9BA-A68D-430A-9CFF-94EC3EA39297}">
      <dgm:prSet/>
      <dgm:spPr/>
      <dgm:t>
        <a:bodyPr/>
        <a:lstStyle/>
        <a:p>
          <a:endParaRPr lang="de-DE"/>
        </a:p>
      </dgm:t>
    </dgm:pt>
    <dgm:pt modelId="{BC636422-DF5B-49F7-880E-B9C8ED3546DB}" type="sibTrans" cxnId="{2D0BA9BA-A68D-430A-9CFF-94EC3EA39297}">
      <dgm:prSet/>
      <dgm:spPr/>
      <dgm:t>
        <a:bodyPr/>
        <a:lstStyle/>
        <a:p>
          <a:endParaRPr lang="de-DE"/>
        </a:p>
      </dgm:t>
    </dgm:pt>
    <dgm:pt modelId="{17D87C71-F784-494A-9766-D99F3C966E14}" type="pres">
      <dgm:prSet presAssocID="{079CBFBB-0FA2-4D7D-B1C9-F84280ADEE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A49D2F7-E265-44FC-944A-7DD3AB489CBD}" type="pres">
      <dgm:prSet presAssocID="{564A9936-E94A-41E5-B48B-AC3C9B657DF1}" presName="hierRoot1" presStyleCnt="0"/>
      <dgm:spPr/>
    </dgm:pt>
    <dgm:pt modelId="{B03D12B0-2FC8-4CD5-B86B-25158E4EB49E}" type="pres">
      <dgm:prSet presAssocID="{564A9936-E94A-41E5-B48B-AC3C9B657DF1}" presName="composite" presStyleCnt="0"/>
      <dgm:spPr/>
    </dgm:pt>
    <dgm:pt modelId="{9F94C638-A94D-4EA9-A4DC-F4A993EC2113}" type="pres">
      <dgm:prSet presAssocID="{564A9936-E94A-41E5-B48B-AC3C9B657DF1}" presName="background" presStyleLbl="node0" presStyleIdx="0" presStyleCnt="1"/>
      <dgm:spPr/>
    </dgm:pt>
    <dgm:pt modelId="{5E8A072A-B843-4B0D-A4B1-A1EBF21B0DAC}" type="pres">
      <dgm:prSet presAssocID="{564A9936-E94A-41E5-B48B-AC3C9B657DF1}" presName="text" presStyleLbl="fgAcc0" presStyleIdx="0" presStyleCnt="1">
        <dgm:presLayoutVars>
          <dgm:chPref val="3"/>
        </dgm:presLayoutVars>
      </dgm:prSet>
      <dgm:spPr/>
    </dgm:pt>
    <dgm:pt modelId="{CCAF91B9-54EE-4BF0-B7D7-86B5343819F1}" type="pres">
      <dgm:prSet presAssocID="{564A9936-E94A-41E5-B48B-AC3C9B657DF1}" presName="hierChild2" presStyleCnt="0"/>
      <dgm:spPr/>
    </dgm:pt>
    <dgm:pt modelId="{8A09AB82-639E-478E-89A0-82A5B3CA1184}" type="pres">
      <dgm:prSet presAssocID="{C20BDC98-2E45-4026-8DC7-8C83F69F63C9}" presName="Name10" presStyleLbl="parChTrans1D2" presStyleIdx="0" presStyleCnt="1"/>
      <dgm:spPr/>
    </dgm:pt>
    <dgm:pt modelId="{07D810C3-FC5B-4066-8B8B-1A6E3698D3AF}" type="pres">
      <dgm:prSet presAssocID="{35045CF8-5722-44DF-B922-5C978A934E45}" presName="hierRoot2" presStyleCnt="0"/>
      <dgm:spPr/>
    </dgm:pt>
    <dgm:pt modelId="{54F6B2B5-CFD6-472A-B367-B37F45866A95}" type="pres">
      <dgm:prSet presAssocID="{35045CF8-5722-44DF-B922-5C978A934E45}" presName="composite2" presStyleCnt="0"/>
      <dgm:spPr/>
    </dgm:pt>
    <dgm:pt modelId="{E2AEE666-F95A-4A29-B12A-BAF815D92A36}" type="pres">
      <dgm:prSet presAssocID="{35045CF8-5722-44DF-B922-5C978A934E45}" presName="background2" presStyleLbl="node2" presStyleIdx="0" presStyleCnt="1"/>
      <dgm:spPr/>
    </dgm:pt>
    <dgm:pt modelId="{744C41CC-6A70-4173-AE1D-9D24EC8BA5AF}" type="pres">
      <dgm:prSet presAssocID="{35045CF8-5722-44DF-B922-5C978A934E45}" presName="text2" presStyleLbl="fgAcc2" presStyleIdx="0" presStyleCnt="1">
        <dgm:presLayoutVars>
          <dgm:chPref val="3"/>
        </dgm:presLayoutVars>
      </dgm:prSet>
      <dgm:spPr/>
    </dgm:pt>
    <dgm:pt modelId="{6DE1D534-CD81-4F31-AB5D-BFF1F1C773ED}" type="pres">
      <dgm:prSet presAssocID="{35045CF8-5722-44DF-B922-5C978A934E45}" presName="hierChild3" presStyleCnt="0"/>
      <dgm:spPr/>
    </dgm:pt>
    <dgm:pt modelId="{2BB4F358-D500-4455-975F-2940C628039A}" type="pres">
      <dgm:prSet presAssocID="{B4102349-5868-4F97-A9FE-9B6F8243DBF5}" presName="Name17" presStyleLbl="parChTrans1D3" presStyleIdx="0" presStyleCnt="3"/>
      <dgm:spPr/>
    </dgm:pt>
    <dgm:pt modelId="{C8A135FF-E011-41DB-A924-C20013A9A30B}" type="pres">
      <dgm:prSet presAssocID="{12B89FB0-DAA0-4650-A3CC-9A4369753BE8}" presName="hierRoot3" presStyleCnt="0"/>
      <dgm:spPr/>
    </dgm:pt>
    <dgm:pt modelId="{95C3E1BD-B576-4AC5-8B86-5484E7B0E364}" type="pres">
      <dgm:prSet presAssocID="{12B89FB0-DAA0-4650-A3CC-9A4369753BE8}" presName="composite3" presStyleCnt="0"/>
      <dgm:spPr/>
    </dgm:pt>
    <dgm:pt modelId="{B028FDF7-7F31-4B34-BB08-1781BFCF335B}" type="pres">
      <dgm:prSet presAssocID="{12B89FB0-DAA0-4650-A3CC-9A4369753BE8}" presName="background3" presStyleLbl="node3" presStyleIdx="0" presStyleCnt="3"/>
      <dgm:spPr/>
    </dgm:pt>
    <dgm:pt modelId="{FE18F7C2-D1D0-4631-9BEE-C826CFE36A75}" type="pres">
      <dgm:prSet presAssocID="{12B89FB0-DAA0-4650-A3CC-9A4369753BE8}" presName="text3" presStyleLbl="fgAcc3" presStyleIdx="0" presStyleCnt="3">
        <dgm:presLayoutVars>
          <dgm:chPref val="3"/>
        </dgm:presLayoutVars>
      </dgm:prSet>
      <dgm:spPr/>
    </dgm:pt>
    <dgm:pt modelId="{097440AF-FC05-4FEC-A8B4-36874A2FB03C}" type="pres">
      <dgm:prSet presAssocID="{12B89FB0-DAA0-4650-A3CC-9A4369753BE8}" presName="hierChild4" presStyleCnt="0"/>
      <dgm:spPr/>
    </dgm:pt>
    <dgm:pt modelId="{F40A3038-0BB9-4B24-A205-773C56E0D3A4}" type="pres">
      <dgm:prSet presAssocID="{B97F0FC2-ED2B-4EF6-B18B-48AA159B02F1}" presName="Name23" presStyleLbl="parChTrans1D4" presStyleIdx="0" presStyleCnt="6"/>
      <dgm:spPr/>
    </dgm:pt>
    <dgm:pt modelId="{2ABBD8FE-B6B3-4080-9433-16857785EE1C}" type="pres">
      <dgm:prSet presAssocID="{28E70F23-8942-4405-98F7-1E5AEB680744}" presName="hierRoot4" presStyleCnt="0"/>
      <dgm:spPr/>
    </dgm:pt>
    <dgm:pt modelId="{F89D7638-9D70-4261-B7DF-E6F9F50D5C73}" type="pres">
      <dgm:prSet presAssocID="{28E70F23-8942-4405-98F7-1E5AEB680744}" presName="composite4" presStyleCnt="0"/>
      <dgm:spPr/>
    </dgm:pt>
    <dgm:pt modelId="{96D93BE9-09D3-4E2D-B1C0-688769B3C71A}" type="pres">
      <dgm:prSet presAssocID="{28E70F23-8942-4405-98F7-1E5AEB680744}" presName="background4" presStyleLbl="node4" presStyleIdx="0" presStyleCnt="6"/>
      <dgm:spPr/>
    </dgm:pt>
    <dgm:pt modelId="{125EEE40-5015-46A4-9AED-8CB371F5DBAB}" type="pres">
      <dgm:prSet presAssocID="{28E70F23-8942-4405-98F7-1E5AEB680744}" presName="text4" presStyleLbl="fgAcc4" presStyleIdx="0" presStyleCnt="6">
        <dgm:presLayoutVars>
          <dgm:chPref val="3"/>
        </dgm:presLayoutVars>
      </dgm:prSet>
      <dgm:spPr/>
    </dgm:pt>
    <dgm:pt modelId="{ACF85520-9DE5-4BE8-B9E7-75E92825F488}" type="pres">
      <dgm:prSet presAssocID="{28E70F23-8942-4405-98F7-1E5AEB680744}" presName="hierChild5" presStyleCnt="0"/>
      <dgm:spPr/>
    </dgm:pt>
    <dgm:pt modelId="{751E1F50-38BD-415E-9305-68E155E01816}" type="pres">
      <dgm:prSet presAssocID="{74F2FD4E-FA78-4AE1-9522-1BD4F630C3C6}" presName="Name23" presStyleLbl="parChTrans1D4" presStyleIdx="1" presStyleCnt="6"/>
      <dgm:spPr/>
    </dgm:pt>
    <dgm:pt modelId="{467F6D2A-DD19-43B8-969A-B239288EB279}" type="pres">
      <dgm:prSet presAssocID="{C063EE59-0E67-45BE-B10A-6F29EE432F6B}" presName="hierRoot4" presStyleCnt="0"/>
      <dgm:spPr/>
    </dgm:pt>
    <dgm:pt modelId="{7EB9D072-B84B-4C82-92BE-EB95F986359D}" type="pres">
      <dgm:prSet presAssocID="{C063EE59-0E67-45BE-B10A-6F29EE432F6B}" presName="composite4" presStyleCnt="0"/>
      <dgm:spPr/>
    </dgm:pt>
    <dgm:pt modelId="{DC8106A7-64DA-43D9-9CE2-E9E712050D3D}" type="pres">
      <dgm:prSet presAssocID="{C063EE59-0E67-45BE-B10A-6F29EE432F6B}" presName="background4" presStyleLbl="node4" presStyleIdx="1" presStyleCnt="6"/>
      <dgm:spPr/>
    </dgm:pt>
    <dgm:pt modelId="{F9ADC6C2-8297-4309-A53F-925800B04856}" type="pres">
      <dgm:prSet presAssocID="{C063EE59-0E67-45BE-B10A-6F29EE432F6B}" presName="text4" presStyleLbl="fgAcc4" presStyleIdx="1" presStyleCnt="6">
        <dgm:presLayoutVars>
          <dgm:chPref val="3"/>
        </dgm:presLayoutVars>
      </dgm:prSet>
      <dgm:spPr/>
    </dgm:pt>
    <dgm:pt modelId="{75D19D11-3089-40F9-9230-AE553B5CB584}" type="pres">
      <dgm:prSet presAssocID="{C063EE59-0E67-45BE-B10A-6F29EE432F6B}" presName="hierChild5" presStyleCnt="0"/>
      <dgm:spPr/>
    </dgm:pt>
    <dgm:pt modelId="{06C1CE01-35EB-4272-82E9-FE559A55921E}" type="pres">
      <dgm:prSet presAssocID="{5DC1D70F-4488-4033-9A4F-B1DAE829DFDB}" presName="Name17" presStyleLbl="parChTrans1D3" presStyleIdx="1" presStyleCnt="3"/>
      <dgm:spPr/>
    </dgm:pt>
    <dgm:pt modelId="{2EDEC2DB-401A-4CB7-8B5D-1E0786256284}" type="pres">
      <dgm:prSet presAssocID="{2D7B56A0-6D3B-452E-8EBC-A6F8C74E0452}" presName="hierRoot3" presStyleCnt="0"/>
      <dgm:spPr/>
    </dgm:pt>
    <dgm:pt modelId="{A2DDBE2A-D264-4EFE-9D93-9ADA333D4DC8}" type="pres">
      <dgm:prSet presAssocID="{2D7B56A0-6D3B-452E-8EBC-A6F8C74E0452}" presName="composite3" presStyleCnt="0"/>
      <dgm:spPr/>
    </dgm:pt>
    <dgm:pt modelId="{72A2DA87-AA2E-4FA7-8D5B-A485E6086A4D}" type="pres">
      <dgm:prSet presAssocID="{2D7B56A0-6D3B-452E-8EBC-A6F8C74E0452}" presName="background3" presStyleLbl="node3" presStyleIdx="1" presStyleCnt="3"/>
      <dgm:spPr/>
    </dgm:pt>
    <dgm:pt modelId="{E02ED48F-E869-4818-85FC-8158915D32D3}" type="pres">
      <dgm:prSet presAssocID="{2D7B56A0-6D3B-452E-8EBC-A6F8C74E0452}" presName="text3" presStyleLbl="fgAcc3" presStyleIdx="1" presStyleCnt="3">
        <dgm:presLayoutVars>
          <dgm:chPref val="3"/>
        </dgm:presLayoutVars>
      </dgm:prSet>
      <dgm:spPr/>
    </dgm:pt>
    <dgm:pt modelId="{7E46CD6B-964F-432D-B3A3-76F79FCE9D5A}" type="pres">
      <dgm:prSet presAssocID="{2D7B56A0-6D3B-452E-8EBC-A6F8C74E0452}" presName="hierChild4" presStyleCnt="0"/>
      <dgm:spPr/>
    </dgm:pt>
    <dgm:pt modelId="{16D6A4BB-9FD2-4447-8935-FD083951E048}" type="pres">
      <dgm:prSet presAssocID="{860ED5BE-7B67-4AE1-828D-4330F2ADBB3F}" presName="Name23" presStyleLbl="parChTrans1D4" presStyleIdx="2" presStyleCnt="6"/>
      <dgm:spPr/>
    </dgm:pt>
    <dgm:pt modelId="{11A74C39-7EE4-4021-BAB9-6AE6332C65AB}" type="pres">
      <dgm:prSet presAssocID="{8A7E3254-092B-4C68-89D9-788115553669}" presName="hierRoot4" presStyleCnt="0"/>
      <dgm:spPr/>
    </dgm:pt>
    <dgm:pt modelId="{D1CCB625-9826-46F9-9C6E-6EAB3E981913}" type="pres">
      <dgm:prSet presAssocID="{8A7E3254-092B-4C68-89D9-788115553669}" presName="composite4" presStyleCnt="0"/>
      <dgm:spPr/>
    </dgm:pt>
    <dgm:pt modelId="{D30FD48E-44C0-4DD4-94AF-220A94DEBBEC}" type="pres">
      <dgm:prSet presAssocID="{8A7E3254-092B-4C68-89D9-788115553669}" presName="background4" presStyleLbl="node4" presStyleIdx="2" presStyleCnt="6"/>
      <dgm:spPr/>
    </dgm:pt>
    <dgm:pt modelId="{D1A53BE4-3BE0-4B9D-BB8B-D7C034FE3534}" type="pres">
      <dgm:prSet presAssocID="{8A7E3254-092B-4C68-89D9-788115553669}" presName="text4" presStyleLbl="fgAcc4" presStyleIdx="2" presStyleCnt="6">
        <dgm:presLayoutVars>
          <dgm:chPref val="3"/>
        </dgm:presLayoutVars>
      </dgm:prSet>
      <dgm:spPr/>
    </dgm:pt>
    <dgm:pt modelId="{27F06CFE-1A96-48F7-A3E1-C0B27FB2DA02}" type="pres">
      <dgm:prSet presAssocID="{8A7E3254-092B-4C68-89D9-788115553669}" presName="hierChild5" presStyleCnt="0"/>
      <dgm:spPr/>
    </dgm:pt>
    <dgm:pt modelId="{E2AE5039-0861-4B08-9549-A4BAF65A120F}" type="pres">
      <dgm:prSet presAssocID="{B0F717AB-1CD5-4E89-8C93-40EFB266B1E8}" presName="Name23" presStyleLbl="parChTrans1D4" presStyleIdx="3" presStyleCnt="6"/>
      <dgm:spPr/>
    </dgm:pt>
    <dgm:pt modelId="{DCE878C8-BB02-4522-B982-68C5EFA45149}" type="pres">
      <dgm:prSet presAssocID="{6DF29448-578A-48F4-8B5C-529D460DF6D8}" presName="hierRoot4" presStyleCnt="0"/>
      <dgm:spPr/>
    </dgm:pt>
    <dgm:pt modelId="{D9BD09ED-1ADD-4FEA-9494-D5B4DE87BE80}" type="pres">
      <dgm:prSet presAssocID="{6DF29448-578A-48F4-8B5C-529D460DF6D8}" presName="composite4" presStyleCnt="0"/>
      <dgm:spPr/>
    </dgm:pt>
    <dgm:pt modelId="{78DBE2F4-7D5E-4337-ABAF-6078BA57C4B6}" type="pres">
      <dgm:prSet presAssocID="{6DF29448-578A-48F4-8B5C-529D460DF6D8}" presName="background4" presStyleLbl="node4" presStyleIdx="3" presStyleCnt="6"/>
      <dgm:spPr/>
    </dgm:pt>
    <dgm:pt modelId="{24D9B6DA-0022-4234-866C-436D8680FE37}" type="pres">
      <dgm:prSet presAssocID="{6DF29448-578A-48F4-8B5C-529D460DF6D8}" presName="text4" presStyleLbl="fgAcc4" presStyleIdx="3" presStyleCnt="6">
        <dgm:presLayoutVars>
          <dgm:chPref val="3"/>
        </dgm:presLayoutVars>
      </dgm:prSet>
      <dgm:spPr/>
    </dgm:pt>
    <dgm:pt modelId="{8621F6CF-689E-4573-8BB3-2B8D047EA3E4}" type="pres">
      <dgm:prSet presAssocID="{6DF29448-578A-48F4-8B5C-529D460DF6D8}" presName="hierChild5" presStyleCnt="0"/>
      <dgm:spPr/>
    </dgm:pt>
    <dgm:pt modelId="{1D253ED5-7D53-4E68-9FEB-506CD0463A01}" type="pres">
      <dgm:prSet presAssocID="{D591A354-63BD-42BF-8612-32B313E2C0A3}" presName="Name17" presStyleLbl="parChTrans1D3" presStyleIdx="2" presStyleCnt="3"/>
      <dgm:spPr/>
    </dgm:pt>
    <dgm:pt modelId="{50C67FD6-476A-4D46-B379-A63348A01313}" type="pres">
      <dgm:prSet presAssocID="{429ED09B-4499-40A1-A163-B16864C24186}" presName="hierRoot3" presStyleCnt="0"/>
      <dgm:spPr/>
    </dgm:pt>
    <dgm:pt modelId="{0EB66ACE-3825-46F2-AEB9-9840BC4F4559}" type="pres">
      <dgm:prSet presAssocID="{429ED09B-4499-40A1-A163-B16864C24186}" presName="composite3" presStyleCnt="0"/>
      <dgm:spPr/>
    </dgm:pt>
    <dgm:pt modelId="{CA44ED2C-D532-4954-9FA2-7BDEE6C728B3}" type="pres">
      <dgm:prSet presAssocID="{429ED09B-4499-40A1-A163-B16864C24186}" presName="background3" presStyleLbl="node3" presStyleIdx="2" presStyleCnt="3"/>
      <dgm:spPr/>
    </dgm:pt>
    <dgm:pt modelId="{6DEE98AF-5D0E-47CB-9C19-8584C91705B8}" type="pres">
      <dgm:prSet presAssocID="{429ED09B-4499-40A1-A163-B16864C24186}" presName="text3" presStyleLbl="fgAcc3" presStyleIdx="2" presStyleCnt="3">
        <dgm:presLayoutVars>
          <dgm:chPref val="3"/>
        </dgm:presLayoutVars>
      </dgm:prSet>
      <dgm:spPr/>
    </dgm:pt>
    <dgm:pt modelId="{477DB77A-0629-485E-9C94-4848C1464C16}" type="pres">
      <dgm:prSet presAssocID="{429ED09B-4499-40A1-A163-B16864C24186}" presName="hierChild4" presStyleCnt="0"/>
      <dgm:spPr/>
    </dgm:pt>
    <dgm:pt modelId="{0E0AFC0F-0B2C-4678-8A19-D830491D7442}" type="pres">
      <dgm:prSet presAssocID="{7E31C0D9-F5D4-4FBA-8164-D48F011B68C4}" presName="Name23" presStyleLbl="parChTrans1D4" presStyleIdx="4" presStyleCnt="6"/>
      <dgm:spPr/>
    </dgm:pt>
    <dgm:pt modelId="{68F845A7-17E2-445B-831C-A03B4C1CB2B6}" type="pres">
      <dgm:prSet presAssocID="{01C82FC9-41BD-4AF6-B7BC-0131B2F3FD81}" presName="hierRoot4" presStyleCnt="0"/>
      <dgm:spPr/>
    </dgm:pt>
    <dgm:pt modelId="{98F87BBA-F4E8-41D5-9D86-BB7BBF2026F4}" type="pres">
      <dgm:prSet presAssocID="{01C82FC9-41BD-4AF6-B7BC-0131B2F3FD81}" presName="composite4" presStyleCnt="0"/>
      <dgm:spPr/>
    </dgm:pt>
    <dgm:pt modelId="{A4BC8FA0-3C60-4706-B2A0-EE5322D82702}" type="pres">
      <dgm:prSet presAssocID="{01C82FC9-41BD-4AF6-B7BC-0131B2F3FD81}" presName="background4" presStyleLbl="node4" presStyleIdx="4" presStyleCnt="6"/>
      <dgm:spPr/>
    </dgm:pt>
    <dgm:pt modelId="{912F653C-7EFA-4E77-A755-ECF1D1942572}" type="pres">
      <dgm:prSet presAssocID="{01C82FC9-41BD-4AF6-B7BC-0131B2F3FD81}" presName="text4" presStyleLbl="fgAcc4" presStyleIdx="4" presStyleCnt="6">
        <dgm:presLayoutVars>
          <dgm:chPref val="3"/>
        </dgm:presLayoutVars>
      </dgm:prSet>
      <dgm:spPr/>
    </dgm:pt>
    <dgm:pt modelId="{0A9F6E01-5EF1-41F5-A31C-57B80763A1C9}" type="pres">
      <dgm:prSet presAssocID="{01C82FC9-41BD-4AF6-B7BC-0131B2F3FD81}" presName="hierChild5" presStyleCnt="0"/>
      <dgm:spPr/>
    </dgm:pt>
    <dgm:pt modelId="{A5E85D04-05C0-4429-B632-3DD9AC29A07F}" type="pres">
      <dgm:prSet presAssocID="{F781412D-D24A-41F4-9A37-3C3377ECB5A4}" presName="Name23" presStyleLbl="parChTrans1D4" presStyleIdx="5" presStyleCnt="6"/>
      <dgm:spPr/>
    </dgm:pt>
    <dgm:pt modelId="{2A603E7B-EE96-4A2B-900F-FC96A0F5614E}" type="pres">
      <dgm:prSet presAssocID="{FBA6703F-00F5-451E-879E-A67DDF1ED825}" presName="hierRoot4" presStyleCnt="0"/>
      <dgm:spPr/>
    </dgm:pt>
    <dgm:pt modelId="{46A66D6A-F08C-4C11-97C6-FF582D134DD8}" type="pres">
      <dgm:prSet presAssocID="{FBA6703F-00F5-451E-879E-A67DDF1ED825}" presName="composite4" presStyleCnt="0"/>
      <dgm:spPr/>
    </dgm:pt>
    <dgm:pt modelId="{4E860631-5092-47E0-8A8D-9CE8F2C52AF8}" type="pres">
      <dgm:prSet presAssocID="{FBA6703F-00F5-451E-879E-A67DDF1ED825}" presName="background4" presStyleLbl="node4" presStyleIdx="5" presStyleCnt="6"/>
      <dgm:spPr/>
    </dgm:pt>
    <dgm:pt modelId="{905350C1-FE14-46E3-9FE5-A6982FECA21B}" type="pres">
      <dgm:prSet presAssocID="{FBA6703F-00F5-451E-879E-A67DDF1ED825}" presName="text4" presStyleLbl="fgAcc4" presStyleIdx="5" presStyleCnt="6">
        <dgm:presLayoutVars>
          <dgm:chPref val="3"/>
        </dgm:presLayoutVars>
      </dgm:prSet>
      <dgm:spPr/>
    </dgm:pt>
    <dgm:pt modelId="{C307CA6A-5AA7-4BB4-B091-86DBFF0A8042}" type="pres">
      <dgm:prSet presAssocID="{FBA6703F-00F5-451E-879E-A67DDF1ED825}" presName="hierChild5" presStyleCnt="0"/>
      <dgm:spPr/>
    </dgm:pt>
  </dgm:ptLst>
  <dgm:cxnLst>
    <dgm:cxn modelId="{7C1CC608-1D1B-4077-80C5-1DB5A4AC6C96}" type="presOf" srcId="{6DF29448-578A-48F4-8B5C-529D460DF6D8}" destId="{24D9B6DA-0022-4234-866C-436D8680FE37}" srcOrd="0" destOrd="0" presId="urn:microsoft.com/office/officeart/2005/8/layout/hierarchy1"/>
    <dgm:cxn modelId="{6E602E09-AACB-463E-AF28-E1F746EC3C4C}" type="presOf" srcId="{35045CF8-5722-44DF-B922-5C978A934E45}" destId="{744C41CC-6A70-4173-AE1D-9D24EC8BA5AF}" srcOrd="0" destOrd="0" presId="urn:microsoft.com/office/officeart/2005/8/layout/hierarchy1"/>
    <dgm:cxn modelId="{FBC5E00F-6D9D-46DA-90C4-2A39B6760CDC}" type="presOf" srcId="{FBA6703F-00F5-451E-879E-A67DDF1ED825}" destId="{905350C1-FE14-46E3-9FE5-A6982FECA21B}" srcOrd="0" destOrd="0" presId="urn:microsoft.com/office/officeart/2005/8/layout/hierarchy1"/>
    <dgm:cxn modelId="{85C08B23-07EF-493C-8D4C-9DBE29DB2088}" srcId="{079CBFBB-0FA2-4D7D-B1C9-F84280ADEE64}" destId="{564A9936-E94A-41E5-B48B-AC3C9B657DF1}" srcOrd="0" destOrd="0" parTransId="{C8C013FB-CA7E-4A3D-8FA4-A7FA4B0004F8}" sibTransId="{897916E6-A604-424D-B1AF-22EB81151836}"/>
    <dgm:cxn modelId="{A036CE27-0CC2-4E71-A865-DB2A279DF3B7}" srcId="{429ED09B-4499-40A1-A163-B16864C24186}" destId="{01C82FC9-41BD-4AF6-B7BC-0131B2F3FD81}" srcOrd="0" destOrd="0" parTransId="{7E31C0D9-F5D4-4FBA-8164-D48F011B68C4}" sibTransId="{E3EDDB05-DE26-4CDE-8565-EC2857CC43E8}"/>
    <dgm:cxn modelId="{56E3202D-2973-4CC2-AD84-904B689BDF7F}" type="presOf" srcId="{B0F717AB-1CD5-4E89-8C93-40EFB266B1E8}" destId="{E2AE5039-0861-4B08-9549-A4BAF65A120F}" srcOrd="0" destOrd="0" presId="urn:microsoft.com/office/officeart/2005/8/layout/hierarchy1"/>
    <dgm:cxn modelId="{F9525E32-3218-4AEB-9BA9-128E9F3422F3}" type="presOf" srcId="{D591A354-63BD-42BF-8612-32B313E2C0A3}" destId="{1D253ED5-7D53-4E68-9FEB-506CD0463A01}" srcOrd="0" destOrd="0" presId="urn:microsoft.com/office/officeart/2005/8/layout/hierarchy1"/>
    <dgm:cxn modelId="{8B4EE95C-32AB-4BB5-A0C6-73997945B956}" srcId="{35045CF8-5722-44DF-B922-5C978A934E45}" destId="{12B89FB0-DAA0-4650-A3CC-9A4369753BE8}" srcOrd="0" destOrd="0" parTransId="{B4102349-5868-4F97-A9FE-9B6F8243DBF5}" sibTransId="{2AEC5DED-AE12-4F9E-8C15-46DF38F9135D}"/>
    <dgm:cxn modelId="{C123D660-65C6-4D7A-BAA7-7001DC6BCA73}" srcId="{12B89FB0-DAA0-4650-A3CC-9A4369753BE8}" destId="{28E70F23-8942-4405-98F7-1E5AEB680744}" srcOrd="0" destOrd="0" parTransId="{B97F0FC2-ED2B-4EF6-B18B-48AA159B02F1}" sibTransId="{1E152937-6F9D-495C-A31F-4FA9BE0B5A40}"/>
    <dgm:cxn modelId="{059E9563-A90F-4D65-AC9D-0793C8EE17FF}" type="presOf" srcId="{7E31C0D9-F5D4-4FBA-8164-D48F011B68C4}" destId="{0E0AFC0F-0B2C-4678-8A19-D830491D7442}" srcOrd="0" destOrd="0" presId="urn:microsoft.com/office/officeart/2005/8/layout/hierarchy1"/>
    <dgm:cxn modelId="{9EC35248-6044-4F65-9620-5272462F1D49}" type="presOf" srcId="{2D7B56A0-6D3B-452E-8EBC-A6F8C74E0452}" destId="{E02ED48F-E869-4818-85FC-8158915D32D3}" srcOrd="0" destOrd="0" presId="urn:microsoft.com/office/officeart/2005/8/layout/hierarchy1"/>
    <dgm:cxn modelId="{2EEA664F-7721-466E-8A4A-DF27C81682EA}" srcId="{2D7B56A0-6D3B-452E-8EBC-A6F8C74E0452}" destId="{8A7E3254-092B-4C68-89D9-788115553669}" srcOrd="0" destOrd="0" parTransId="{860ED5BE-7B67-4AE1-828D-4330F2ADBB3F}" sibTransId="{0F74DE18-1E41-49AF-BF68-2333992FC727}"/>
    <dgm:cxn modelId="{13714B71-2AA2-474A-9CCE-7A90BB3C9C3F}" type="presOf" srcId="{8A7E3254-092B-4C68-89D9-788115553669}" destId="{D1A53BE4-3BE0-4B9D-BB8B-D7C034FE3534}" srcOrd="0" destOrd="0" presId="urn:microsoft.com/office/officeart/2005/8/layout/hierarchy1"/>
    <dgm:cxn modelId="{0F92457D-2BB8-4203-AAD2-C3134759D7D5}" type="presOf" srcId="{01C82FC9-41BD-4AF6-B7BC-0131B2F3FD81}" destId="{912F653C-7EFA-4E77-A755-ECF1D1942572}" srcOrd="0" destOrd="0" presId="urn:microsoft.com/office/officeart/2005/8/layout/hierarchy1"/>
    <dgm:cxn modelId="{8D7AF687-5764-4FA2-96F0-98414D007F07}" type="presOf" srcId="{12B89FB0-DAA0-4650-A3CC-9A4369753BE8}" destId="{FE18F7C2-D1D0-4631-9BEE-C826CFE36A75}" srcOrd="0" destOrd="0" presId="urn:microsoft.com/office/officeart/2005/8/layout/hierarchy1"/>
    <dgm:cxn modelId="{EB209B97-081D-445F-8DFC-A4EF9DEAB7F7}" type="presOf" srcId="{F781412D-D24A-41F4-9A37-3C3377ECB5A4}" destId="{A5E85D04-05C0-4429-B632-3DD9AC29A07F}" srcOrd="0" destOrd="0" presId="urn:microsoft.com/office/officeart/2005/8/layout/hierarchy1"/>
    <dgm:cxn modelId="{049F729F-29E8-4B0F-BA6D-84BA059FAA3F}" srcId="{35045CF8-5722-44DF-B922-5C978A934E45}" destId="{429ED09B-4499-40A1-A163-B16864C24186}" srcOrd="2" destOrd="0" parTransId="{D591A354-63BD-42BF-8612-32B313E2C0A3}" sibTransId="{FB4885F3-C5B1-4777-9FDC-644420A95164}"/>
    <dgm:cxn modelId="{2D0BA9BA-A68D-430A-9CFF-94EC3EA39297}" srcId="{429ED09B-4499-40A1-A163-B16864C24186}" destId="{FBA6703F-00F5-451E-879E-A67DDF1ED825}" srcOrd="1" destOrd="0" parTransId="{F781412D-D24A-41F4-9A37-3C3377ECB5A4}" sibTransId="{BC636422-DF5B-49F7-880E-B9C8ED3546DB}"/>
    <dgm:cxn modelId="{2BCA18BB-1EF1-4CBB-9EC8-077FD7031F06}" type="presOf" srcId="{C063EE59-0E67-45BE-B10A-6F29EE432F6B}" destId="{F9ADC6C2-8297-4309-A53F-925800B04856}" srcOrd="0" destOrd="0" presId="urn:microsoft.com/office/officeart/2005/8/layout/hierarchy1"/>
    <dgm:cxn modelId="{F8DE9DC1-0344-4D29-A76A-FF46FB106894}" type="presOf" srcId="{B97F0FC2-ED2B-4EF6-B18B-48AA159B02F1}" destId="{F40A3038-0BB9-4B24-A205-773C56E0D3A4}" srcOrd="0" destOrd="0" presId="urn:microsoft.com/office/officeart/2005/8/layout/hierarchy1"/>
    <dgm:cxn modelId="{F77B1FC3-3917-411F-A5A5-0A552E8F0E85}" type="presOf" srcId="{429ED09B-4499-40A1-A163-B16864C24186}" destId="{6DEE98AF-5D0E-47CB-9C19-8584C91705B8}" srcOrd="0" destOrd="0" presId="urn:microsoft.com/office/officeart/2005/8/layout/hierarchy1"/>
    <dgm:cxn modelId="{FCBC36C3-B853-484F-B315-D06D2110B5B2}" srcId="{564A9936-E94A-41E5-B48B-AC3C9B657DF1}" destId="{35045CF8-5722-44DF-B922-5C978A934E45}" srcOrd="0" destOrd="0" parTransId="{C20BDC98-2E45-4026-8DC7-8C83F69F63C9}" sibTransId="{7862FC69-9FCF-4AF2-A535-265C4A8BE315}"/>
    <dgm:cxn modelId="{685FAFD9-7C01-4839-BC64-D138364459CD}" type="presOf" srcId="{B4102349-5868-4F97-A9FE-9B6F8243DBF5}" destId="{2BB4F358-D500-4455-975F-2940C628039A}" srcOrd="0" destOrd="0" presId="urn:microsoft.com/office/officeart/2005/8/layout/hierarchy1"/>
    <dgm:cxn modelId="{158814DF-F56D-4EA0-9AC5-48C7EDFD2998}" srcId="{12B89FB0-DAA0-4650-A3CC-9A4369753BE8}" destId="{C063EE59-0E67-45BE-B10A-6F29EE432F6B}" srcOrd="1" destOrd="0" parTransId="{74F2FD4E-FA78-4AE1-9522-1BD4F630C3C6}" sibTransId="{9E9DD40B-FFE4-4426-A071-7EF55BA4AFEA}"/>
    <dgm:cxn modelId="{843791E3-0205-4E42-91A4-450ECA361114}" type="presOf" srcId="{860ED5BE-7B67-4AE1-828D-4330F2ADBB3F}" destId="{16D6A4BB-9FD2-4447-8935-FD083951E048}" srcOrd="0" destOrd="0" presId="urn:microsoft.com/office/officeart/2005/8/layout/hierarchy1"/>
    <dgm:cxn modelId="{B3B3F2E4-AA0C-4EBA-AA2D-7164EF747C3C}" type="presOf" srcId="{28E70F23-8942-4405-98F7-1E5AEB680744}" destId="{125EEE40-5015-46A4-9AED-8CB371F5DBAB}" srcOrd="0" destOrd="0" presId="urn:microsoft.com/office/officeart/2005/8/layout/hierarchy1"/>
    <dgm:cxn modelId="{62EA9DE5-2327-4446-BBD0-5D8E03162550}" type="presOf" srcId="{564A9936-E94A-41E5-B48B-AC3C9B657DF1}" destId="{5E8A072A-B843-4B0D-A4B1-A1EBF21B0DAC}" srcOrd="0" destOrd="0" presId="urn:microsoft.com/office/officeart/2005/8/layout/hierarchy1"/>
    <dgm:cxn modelId="{0AE055E6-FBF1-472E-A092-FFB3C06CBD90}" type="presOf" srcId="{079CBFBB-0FA2-4D7D-B1C9-F84280ADEE64}" destId="{17D87C71-F784-494A-9766-D99F3C966E14}" srcOrd="0" destOrd="0" presId="urn:microsoft.com/office/officeart/2005/8/layout/hierarchy1"/>
    <dgm:cxn modelId="{CCCDFEEC-F21B-4742-B004-980F5A35798E}" type="presOf" srcId="{74F2FD4E-FA78-4AE1-9522-1BD4F630C3C6}" destId="{751E1F50-38BD-415E-9305-68E155E01816}" srcOrd="0" destOrd="0" presId="urn:microsoft.com/office/officeart/2005/8/layout/hierarchy1"/>
    <dgm:cxn modelId="{BC5EE5F4-FE4E-4447-A03A-25D237659F9E}" type="presOf" srcId="{5DC1D70F-4488-4033-9A4F-B1DAE829DFDB}" destId="{06C1CE01-35EB-4272-82E9-FE559A55921E}" srcOrd="0" destOrd="0" presId="urn:microsoft.com/office/officeart/2005/8/layout/hierarchy1"/>
    <dgm:cxn modelId="{36A4F1F6-2C94-4CD1-9A1B-4DB2DF1E64D1}" srcId="{35045CF8-5722-44DF-B922-5C978A934E45}" destId="{2D7B56A0-6D3B-452E-8EBC-A6F8C74E0452}" srcOrd="1" destOrd="0" parTransId="{5DC1D70F-4488-4033-9A4F-B1DAE829DFDB}" sibTransId="{02E38315-02F5-449A-BE86-20073FE07905}"/>
    <dgm:cxn modelId="{FFB813FB-8F16-46CC-A5C4-06A5269E03E5}" srcId="{2D7B56A0-6D3B-452E-8EBC-A6F8C74E0452}" destId="{6DF29448-578A-48F4-8B5C-529D460DF6D8}" srcOrd="1" destOrd="0" parTransId="{B0F717AB-1CD5-4E89-8C93-40EFB266B1E8}" sibTransId="{5D6C2BD1-3BB2-4D82-92D2-A2C6C52A5457}"/>
    <dgm:cxn modelId="{76230CFF-E791-47AC-8B5F-963698DB2B73}" type="presOf" srcId="{C20BDC98-2E45-4026-8DC7-8C83F69F63C9}" destId="{8A09AB82-639E-478E-89A0-82A5B3CA1184}" srcOrd="0" destOrd="0" presId="urn:microsoft.com/office/officeart/2005/8/layout/hierarchy1"/>
    <dgm:cxn modelId="{FDF02E77-01A1-4A88-8B5F-4A1565906C9F}" type="presParOf" srcId="{17D87C71-F784-494A-9766-D99F3C966E14}" destId="{8A49D2F7-E265-44FC-944A-7DD3AB489CBD}" srcOrd="0" destOrd="0" presId="urn:microsoft.com/office/officeart/2005/8/layout/hierarchy1"/>
    <dgm:cxn modelId="{248D51F2-D438-465E-970F-D0079121B2E6}" type="presParOf" srcId="{8A49D2F7-E265-44FC-944A-7DD3AB489CBD}" destId="{B03D12B0-2FC8-4CD5-B86B-25158E4EB49E}" srcOrd="0" destOrd="0" presId="urn:microsoft.com/office/officeart/2005/8/layout/hierarchy1"/>
    <dgm:cxn modelId="{79183EBD-CF23-45AD-A86E-0D9FEB6B8DEE}" type="presParOf" srcId="{B03D12B0-2FC8-4CD5-B86B-25158E4EB49E}" destId="{9F94C638-A94D-4EA9-A4DC-F4A993EC2113}" srcOrd="0" destOrd="0" presId="urn:microsoft.com/office/officeart/2005/8/layout/hierarchy1"/>
    <dgm:cxn modelId="{2AD6DCB9-1AED-4FAE-A360-8A72B1E5AF42}" type="presParOf" srcId="{B03D12B0-2FC8-4CD5-B86B-25158E4EB49E}" destId="{5E8A072A-B843-4B0D-A4B1-A1EBF21B0DAC}" srcOrd="1" destOrd="0" presId="urn:microsoft.com/office/officeart/2005/8/layout/hierarchy1"/>
    <dgm:cxn modelId="{10E948CE-9236-4BCF-A360-83D6ACDAC6CF}" type="presParOf" srcId="{8A49D2F7-E265-44FC-944A-7DD3AB489CBD}" destId="{CCAF91B9-54EE-4BF0-B7D7-86B5343819F1}" srcOrd="1" destOrd="0" presId="urn:microsoft.com/office/officeart/2005/8/layout/hierarchy1"/>
    <dgm:cxn modelId="{C5C14206-269E-4E59-8E15-5D36C2CD6656}" type="presParOf" srcId="{CCAF91B9-54EE-4BF0-B7D7-86B5343819F1}" destId="{8A09AB82-639E-478E-89A0-82A5B3CA1184}" srcOrd="0" destOrd="0" presId="urn:microsoft.com/office/officeart/2005/8/layout/hierarchy1"/>
    <dgm:cxn modelId="{F4C68374-DFB7-404C-BBF6-0C51E745BE66}" type="presParOf" srcId="{CCAF91B9-54EE-4BF0-B7D7-86B5343819F1}" destId="{07D810C3-FC5B-4066-8B8B-1A6E3698D3AF}" srcOrd="1" destOrd="0" presId="urn:microsoft.com/office/officeart/2005/8/layout/hierarchy1"/>
    <dgm:cxn modelId="{DDD18F01-DDB5-485E-B83F-E475CC1C679C}" type="presParOf" srcId="{07D810C3-FC5B-4066-8B8B-1A6E3698D3AF}" destId="{54F6B2B5-CFD6-472A-B367-B37F45866A95}" srcOrd="0" destOrd="0" presId="urn:microsoft.com/office/officeart/2005/8/layout/hierarchy1"/>
    <dgm:cxn modelId="{EBD6833D-148A-4C5E-BE76-096DDA45463D}" type="presParOf" srcId="{54F6B2B5-CFD6-472A-B367-B37F45866A95}" destId="{E2AEE666-F95A-4A29-B12A-BAF815D92A36}" srcOrd="0" destOrd="0" presId="urn:microsoft.com/office/officeart/2005/8/layout/hierarchy1"/>
    <dgm:cxn modelId="{50361F29-93ED-47C9-89A3-DED0A85F081A}" type="presParOf" srcId="{54F6B2B5-CFD6-472A-B367-B37F45866A95}" destId="{744C41CC-6A70-4173-AE1D-9D24EC8BA5AF}" srcOrd="1" destOrd="0" presId="urn:microsoft.com/office/officeart/2005/8/layout/hierarchy1"/>
    <dgm:cxn modelId="{7886E2AA-BFF3-43D1-BD47-D8C34F8E0C1C}" type="presParOf" srcId="{07D810C3-FC5B-4066-8B8B-1A6E3698D3AF}" destId="{6DE1D534-CD81-4F31-AB5D-BFF1F1C773ED}" srcOrd="1" destOrd="0" presId="urn:microsoft.com/office/officeart/2005/8/layout/hierarchy1"/>
    <dgm:cxn modelId="{9D05208E-1DC1-4ECC-A4D6-0323BB61398E}" type="presParOf" srcId="{6DE1D534-CD81-4F31-AB5D-BFF1F1C773ED}" destId="{2BB4F358-D500-4455-975F-2940C628039A}" srcOrd="0" destOrd="0" presId="urn:microsoft.com/office/officeart/2005/8/layout/hierarchy1"/>
    <dgm:cxn modelId="{A9C22F4A-B5F5-4999-91DE-E65FB5E076EA}" type="presParOf" srcId="{6DE1D534-CD81-4F31-AB5D-BFF1F1C773ED}" destId="{C8A135FF-E011-41DB-A924-C20013A9A30B}" srcOrd="1" destOrd="0" presId="urn:microsoft.com/office/officeart/2005/8/layout/hierarchy1"/>
    <dgm:cxn modelId="{43FB98E1-7E93-4189-B5F6-4D7F3841E018}" type="presParOf" srcId="{C8A135FF-E011-41DB-A924-C20013A9A30B}" destId="{95C3E1BD-B576-4AC5-8B86-5484E7B0E364}" srcOrd="0" destOrd="0" presId="urn:microsoft.com/office/officeart/2005/8/layout/hierarchy1"/>
    <dgm:cxn modelId="{C6D98A77-C711-4EC0-B159-487237C29240}" type="presParOf" srcId="{95C3E1BD-B576-4AC5-8B86-5484E7B0E364}" destId="{B028FDF7-7F31-4B34-BB08-1781BFCF335B}" srcOrd="0" destOrd="0" presId="urn:microsoft.com/office/officeart/2005/8/layout/hierarchy1"/>
    <dgm:cxn modelId="{E40C2932-A2CA-406A-B95E-FC19EA3671BD}" type="presParOf" srcId="{95C3E1BD-B576-4AC5-8B86-5484E7B0E364}" destId="{FE18F7C2-D1D0-4631-9BEE-C826CFE36A75}" srcOrd="1" destOrd="0" presId="urn:microsoft.com/office/officeart/2005/8/layout/hierarchy1"/>
    <dgm:cxn modelId="{0AA72B2D-AE69-4948-B460-56528BFD96E3}" type="presParOf" srcId="{C8A135FF-E011-41DB-A924-C20013A9A30B}" destId="{097440AF-FC05-4FEC-A8B4-36874A2FB03C}" srcOrd="1" destOrd="0" presId="urn:microsoft.com/office/officeart/2005/8/layout/hierarchy1"/>
    <dgm:cxn modelId="{FBA4361C-5ECD-4F25-9A3F-7D6027C15937}" type="presParOf" srcId="{097440AF-FC05-4FEC-A8B4-36874A2FB03C}" destId="{F40A3038-0BB9-4B24-A205-773C56E0D3A4}" srcOrd="0" destOrd="0" presId="urn:microsoft.com/office/officeart/2005/8/layout/hierarchy1"/>
    <dgm:cxn modelId="{A6D45D11-1772-4A36-9AE3-9F49DDA5B679}" type="presParOf" srcId="{097440AF-FC05-4FEC-A8B4-36874A2FB03C}" destId="{2ABBD8FE-B6B3-4080-9433-16857785EE1C}" srcOrd="1" destOrd="0" presId="urn:microsoft.com/office/officeart/2005/8/layout/hierarchy1"/>
    <dgm:cxn modelId="{2A1A818F-8F5E-4A55-8C94-A315085A80C9}" type="presParOf" srcId="{2ABBD8FE-B6B3-4080-9433-16857785EE1C}" destId="{F89D7638-9D70-4261-B7DF-E6F9F50D5C73}" srcOrd="0" destOrd="0" presId="urn:microsoft.com/office/officeart/2005/8/layout/hierarchy1"/>
    <dgm:cxn modelId="{2CD8FEDE-EF20-4DE5-ADAB-7319FC386240}" type="presParOf" srcId="{F89D7638-9D70-4261-B7DF-E6F9F50D5C73}" destId="{96D93BE9-09D3-4E2D-B1C0-688769B3C71A}" srcOrd="0" destOrd="0" presId="urn:microsoft.com/office/officeart/2005/8/layout/hierarchy1"/>
    <dgm:cxn modelId="{0D5DD975-8F68-4ACA-8705-1FC1BD76BE72}" type="presParOf" srcId="{F89D7638-9D70-4261-B7DF-E6F9F50D5C73}" destId="{125EEE40-5015-46A4-9AED-8CB371F5DBAB}" srcOrd="1" destOrd="0" presId="urn:microsoft.com/office/officeart/2005/8/layout/hierarchy1"/>
    <dgm:cxn modelId="{29EAFD5E-86EE-45F1-9A4A-A961F3D2BBE3}" type="presParOf" srcId="{2ABBD8FE-B6B3-4080-9433-16857785EE1C}" destId="{ACF85520-9DE5-4BE8-B9E7-75E92825F488}" srcOrd="1" destOrd="0" presId="urn:microsoft.com/office/officeart/2005/8/layout/hierarchy1"/>
    <dgm:cxn modelId="{7F3E78A2-227A-4D1A-9F08-C15D3EF5A0AC}" type="presParOf" srcId="{097440AF-FC05-4FEC-A8B4-36874A2FB03C}" destId="{751E1F50-38BD-415E-9305-68E155E01816}" srcOrd="2" destOrd="0" presId="urn:microsoft.com/office/officeart/2005/8/layout/hierarchy1"/>
    <dgm:cxn modelId="{95118751-2636-4BA5-82BA-ED1F205AFD3B}" type="presParOf" srcId="{097440AF-FC05-4FEC-A8B4-36874A2FB03C}" destId="{467F6D2A-DD19-43B8-969A-B239288EB279}" srcOrd="3" destOrd="0" presId="urn:microsoft.com/office/officeart/2005/8/layout/hierarchy1"/>
    <dgm:cxn modelId="{BA3DDEA0-3A20-482A-8919-2CFF673C066E}" type="presParOf" srcId="{467F6D2A-DD19-43B8-969A-B239288EB279}" destId="{7EB9D072-B84B-4C82-92BE-EB95F986359D}" srcOrd="0" destOrd="0" presId="urn:microsoft.com/office/officeart/2005/8/layout/hierarchy1"/>
    <dgm:cxn modelId="{E19FAEA5-849B-485F-B890-39C5EEB9483F}" type="presParOf" srcId="{7EB9D072-B84B-4C82-92BE-EB95F986359D}" destId="{DC8106A7-64DA-43D9-9CE2-E9E712050D3D}" srcOrd="0" destOrd="0" presId="urn:microsoft.com/office/officeart/2005/8/layout/hierarchy1"/>
    <dgm:cxn modelId="{0B8486F9-1E78-4538-BC3D-839F338C3FCF}" type="presParOf" srcId="{7EB9D072-B84B-4C82-92BE-EB95F986359D}" destId="{F9ADC6C2-8297-4309-A53F-925800B04856}" srcOrd="1" destOrd="0" presId="urn:microsoft.com/office/officeart/2005/8/layout/hierarchy1"/>
    <dgm:cxn modelId="{B4761933-0A51-4F00-9AB5-6440E8644302}" type="presParOf" srcId="{467F6D2A-DD19-43B8-969A-B239288EB279}" destId="{75D19D11-3089-40F9-9230-AE553B5CB584}" srcOrd="1" destOrd="0" presId="urn:microsoft.com/office/officeart/2005/8/layout/hierarchy1"/>
    <dgm:cxn modelId="{2D060ACB-93A1-4608-AD09-F8694A23B32A}" type="presParOf" srcId="{6DE1D534-CD81-4F31-AB5D-BFF1F1C773ED}" destId="{06C1CE01-35EB-4272-82E9-FE559A55921E}" srcOrd="2" destOrd="0" presId="urn:microsoft.com/office/officeart/2005/8/layout/hierarchy1"/>
    <dgm:cxn modelId="{100B3BD4-27CA-4A1E-8DD7-91B117312900}" type="presParOf" srcId="{6DE1D534-CD81-4F31-AB5D-BFF1F1C773ED}" destId="{2EDEC2DB-401A-4CB7-8B5D-1E0786256284}" srcOrd="3" destOrd="0" presId="urn:microsoft.com/office/officeart/2005/8/layout/hierarchy1"/>
    <dgm:cxn modelId="{1E921E9B-DDD6-4C05-AEF7-0D4D092BC1DE}" type="presParOf" srcId="{2EDEC2DB-401A-4CB7-8B5D-1E0786256284}" destId="{A2DDBE2A-D264-4EFE-9D93-9ADA333D4DC8}" srcOrd="0" destOrd="0" presId="urn:microsoft.com/office/officeart/2005/8/layout/hierarchy1"/>
    <dgm:cxn modelId="{C99C3CA6-968E-4CFA-8AC0-B8CF577B389E}" type="presParOf" srcId="{A2DDBE2A-D264-4EFE-9D93-9ADA333D4DC8}" destId="{72A2DA87-AA2E-4FA7-8D5B-A485E6086A4D}" srcOrd="0" destOrd="0" presId="urn:microsoft.com/office/officeart/2005/8/layout/hierarchy1"/>
    <dgm:cxn modelId="{62CC9C70-7E3D-4A34-A987-79D69377F4C6}" type="presParOf" srcId="{A2DDBE2A-D264-4EFE-9D93-9ADA333D4DC8}" destId="{E02ED48F-E869-4818-85FC-8158915D32D3}" srcOrd="1" destOrd="0" presId="urn:microsoft.com/office/officeart/2005/8/layout/hierarchy1"/>
    <dgm:cxn modelId="{5B80C58D-E1DC-4D8E-B7DE-C8DCFA9E7F8F}" type="presParOf" srcId="{2EDEC2DB-401A-4CB7-8B5D-1E0786256284}" destId="{7E46CD6B-964F-432D-B3A3-76F79FCE9D5A}" srcOrd="1" destOrd="0" presId="urn:microsoft.com/office/officeart/2005/8/layout/hierarchy1"/>
    <dgm:cxn modelId="{B64D0E02-03A2-4E5D-B02D-258729CAE5CD}" type="presParOf" srcId="{7E46CD6B-964F-432D-B3A3-76F79FCE9D5A}" destId="{16D6A4BB-9FD2-4447-8935-FD083951E048}" srcOrd="0" destOrd="0" presId="urn:microsoft.com/office/officeart/2005/8/layout/hierarchy1"/>
    <dgm:cxn modelId="{9F0BE5FB-AF46-431F-BAC0-AFD36FAA8F1A}" type="presParOf" srcId="{7E46CD6B-964F-432D-B3A3-76F79FCE9D5A}" destId="{11A74C39-7EE4-4021-BAB9-6AE6332C65AB}" srcOrd="1" destOrd="0" presId="urn:microsoft.com/office/officeart/2005/8/layout/hierarchy1"/>
    <dgm:cxn modelId="{7FF2E69E-57B2-4364-B8A8-47A3694C10D8}" type="presParOf" srcId="{11A74C39-7EE4-4021-BAB9-6AE6332C65AB}" destId="{D1CCB625-9826-46F9-9C6E-6EAB3E981913}" srcOrd="0" destOrd="0" presId="urn:microsoft.com/office/officeart/2005/8/layout/hierarchy1"/>
    <dgm:cxn modelId="{B6EBB17D-271F-4DC8-A5E6-6DDB3881B0B3}" type="presParOf" srcId="{D1CCB625-9826-46F9-9C6E-6EAB3E981913}" destId="{D30FD48E-44C0-4DD4-94AF-220A94DEBBEC}" srcOrd="0" destOrd="0" presId="urn:microsoft.com/office/officeart/2005/8/layout/hierarchy1"/>
    <dgm:cxn modelId="{935BADA7-DA00-4064-AF6A-80CA700D35C9}" type="presParOf" srcId="{D1CCB625-9826-46F9-9C6E-6EAB3E981913}" destId="{D1A53BE4-3BE0-4B9D-BB8B-D7C034FE3534}" srcOrd="1" destOrd="0" presId="urn:microsoft.com/office/officeart/2005/8/layout/hierarchy1"/>
    <dgm:cxn modelId="{B70DAF0F-49C3-4590-9CFC-D274D8B76615}" type="presParOf" srcId="{11A74C39-7EE4-4021-BAB9-6AE6332C65AB}" destId="{27F06CFE-1A96-48F7-A3E1-C0B27FB2DA02}" srcOrd="1" destOrd="0" presId="urn:microsoft.com/office/officeart/2005/8/layout/hierarchy1"/>
    <dgm:cxn modelId="{56B4966B-C6A8-4139-AB21-E97B706AB47D}" type="presParOf" srcId="{7E46CD6B-964F-432D-B3A3-76F79FCE9D5A}" destId="{E2AE5039-0861-4B08-9549-A4BAF65A120F}" srcOrd="2" destOrd="0" presId="urn:microsoft.com/office/officeart/2005/8/layout/hierarchy1"/>
    <dgm:cxn modelId="{6DEA6E6E-1DC8-4258-8320-FAC7BFD0ED08}" type="presParOf" srcId="{7E46CD6B-964F-432D-B3A3-76F79FCE9D5A}" destId="{DCE878C8-BB02-4522-B982-68C5EFA45149}" srcOrd="3" destOrd="0" presId="urn:microsoft.com/office/officeart/2005/8/layout/hierarchy1"/>
    <dgm:cxn modelId="{B99EC325-0499-4A9B-85ED-5F25DA80A715}" type="presParOf" srcId="{DCE878C8-BB02-4522-B982-68C5EFA45149}" destId="{D9BD09ED-1ADD-4FEA-9494-D5B4DE87BE80}" srcOrd="0" destOrd="0" presId="urn:microsoft.com/office/officeart/2005/8/layout/hierarchy1"/>
    <dgm:cxn modelId="{FC2BA520-1227-42B0-B8CD-19C048522FDD}" type="presParOf" srcId="{D9BD09ED-1ADD-4FEA-9494-D5B4DE87BE80}" destId="{78DBE2F4-7D5E-4337-ABAF-6078BA57C4B6}" srcOrd="0" destOrd="0" presId="urn:microsoft.com/office/officeart/2005/8/layout/hierarchy1"/>
    <dgm:cxn modelId="{3A96A182-EF82-47CC-8CF3-ED07DB40E9A4}" type="presParOf" srcId="{D9BD09ED-1ADD-4FEA-9494-D5B4DE87BE80}" destId="{24D9B6DA-0022-4234-866C-436D8680FE37}" srcOrd="1" destOrd="0" presId="urn:microsoft.com/office/officeart/2005/8/layout/hierarchy1"/>
    <dgm:cxn modelId="{B9B9354C-9B29-4F56-B208-7747EC70CBCC}" type="presParOf" srcId="{DCE878C8-BB02-4522-B982-68C5EFA45149}" destId="{8621F6CF-689E-4573-8BB3-2B8D047EA3E4}" srcOrd="1" destOrd="0" presId="urn:microsoft.com/office/officeart/2005/8/layout/hierarchy1"/>
    <dgm:cxn modelId="{5D32FA14-4167-4614-8612-CD828F811A50}" type="presParOf" srcId="{6DE1D534-CD81-4F31-AB5D-BFF1F1C773ED}" destId="{1D253ED5-7D53-4E68-9FEB-506CD0463A01}" srcOrd="4" destOrd="0" presId="urn:microsoft.com/office/officeart/2005/8/layout/hierarchy1"/>
    <dgm:cxn modelId="{500A1101-5B0F-428F-809D-21C27659E7E5}" type="presParOf" srcId="{6DE1D534-CD81-4F31-AB5D-BFF1F1C773ED}" destId="{50C67FD6-476A-4D46-B379-A63348A01313}" srcOrd="5" destOrd="0" presId="urn:microsoft.com/office/officeart/2005/8/layout/hierarchy1"/>
    <dgm:cxn modelId="{C4425E69-4AD0-48ED-9B8F-D3AEDEE5A286}" type="presParOf" srcId="{50C67FD6-476A-4D46-B379-A63348A01313}" destId="{0EB66ACE-3825-46F2-AEB9-9840BC4F4559}" srcOrd="0" destOrd="0" presId="urn:microsoft.com/office/officeart/2005/8/layout/hierarchy1"/>
    <dgm:cxn modelId="{69D04E5B-92E7-4BCC-A728-CC8F8C4E8E4B}" type="presParOf" srcId="{0EB66ACE-3825-46F2-AEB9-9840BC4F4559}" destId="{CA44ED2C-D532-4954-9FA2-7BDEE6C728B3}" srcOrd="0" destOrd="0" presId="urn:microsoft.com/office/officeart/2005/8/layout/hierarchy1"/>
    <dgm:cxn modelId="{99E3B246-5D56-4D00-9B88-ABAC7B449151}" type="presParOf" srcId="{0EB66ACE-3825-46F2-AEB9-9840BC4F4559}" destId="{6DEE98AF-5D0E-47CB-9C19-8584C91705B8}" srcOrd="1" destOrd="0" presId="urn:microsoft.com/office/officeart/2005/8/layout/hierarchy1"/>
    <dgm:cxn modelId="{E4198B05-5148-4A18-8BE1-0AF5BEFB251C}" type="presParOf" srcId="{50C67FD6-476A-4D46-B379-A63348A01313}" destId="{477DB77A-0629-485E-9C94-4848C1464C16}" srcOrd="1" destOrd="0" presId="urn:microsoft.com/office/officeart/2005/8/layout/hierarchy1"/>
    <dgm:cxn modelId="{0C81A112-2C22-44F3-B4F5-66CAC8C5B70B}" type="presParOf" srcId="{477DB77A-0629-485E-9C94-4848C1464C16}" destId="{0E0AFC0F-0B2C-4678-8A19-D830491D7442}" srcOrd="0" destOrd="0" presId="urn:microsoft.com/office/officeart/2005/8/layout/hierarchy1"/>
    <dgm:cxn modelId="{3A104452-ACFA-46EB-B96B-EC2886555FEB}" type="presParOf" srcId="{477DB77A-0629-485E-9C94-4848C1464C16}" destId="{68F845A7-17E2-445B-831C-A03B4C1CB2B6}" srcOrd="1" destOrd="0" presId="urn:microsoft.com/office/officeart/2005/8/layout/hierarchy1"/>
    <dgm:cxn modelId="{542B71DC-F0D2-4368-9B8F-39E56656007C}" type="presParOf" srcId="{68F845A7-17E2-445B-831C-A03B4C1CB2B6}" destId="{98F87BBA-F4E8-41D5-9D86-BB7BBF2026F4}" srcOrd="0" destOrd="0" presId="urn:microsoft.com/office/officeart/2005/8/layout/hierarchy1"/>
    <dgm:cxn modelId="{D4368DDF-D4AD-435A-8CA6-34AB6A06054C}" type="presParOf" srcId="{98F87BBA-F4E8-41D5-9D86-BB7BBF2026F4}" destId="{A4BC8FA0-3C60-4706-B2A0-EE5322D82702}" srcOrd="0" destOrd="0" presId="urn:microsoft.com/office/officeart/2005/8/layout/hierarchy1"/>
    <dgm:cxn modelId="{AAFA8AC6-BCB2-4D16-A561-3AF602973B2A}" type="presParOf" srcId="{98F87BBA-F4E8-41D5-9D86-BB7BBF2026F4}" destId="{912F653C-7EFA-4E77-A755-ECF1D1942572}" srcOrd="1" destOrd="0" presId="urn:microsoft.com/office/officeart/2005/8/layout/hierarchy1"/>
    <dgm:cxn modelId="{9CD42567-F713-4233-BB2E-277F0C62DF3C}" type="presParOf" srcId="{68F845A7-17E2-445B-831C-A03B4C1CB2B6}" destId="{0A9F6E01-5EF1-41F5-A31C-57B80763A1C9}" srcOrd="1" destOrd="0" presId="urn:microsoft.com/office/officeart/2005/8/layout/hierarchy1"/>
    <dgm:cxn modelId="{4DAADBB9-75CC-49D2-93C1-6DEA87D8B803}" type="presParOf" srcId="{477DB77A-0629-485E-9C94-4848C1464C16}" destId="{A5E85D04-05C0-4429-B632-3DD9AC29A07F}" srcOrd="2" destOrd="0" presId="urn:microsoft.com/office/officeart/2005/8/layout/hierarchy1"/>
    <dgm:cxn modelId="{E1CC5C65-A591-4754-9EC9-C47575420DED}" type="presParOf" srcId="{477DB77A-0629-485E-9C94-4848C1464C16}" destId="{2A603E7B-EE96-4A2B-900F-FC96A0F5614E}" srcOrd="3" destOrd="0" presId="urn:microsoft.com/office/officeart/2005/8/layout/hierarchy1"/>
    <dgm:cxn modelId="{9CF68810-E83A-4646-9EC1-6C39DB84C578}" type="presParOf" srcId="{2A603E7B-EE96-4A2B-900F-FC96A0F5614E}" destId="{46A66D6A-F08C-4C11-97C6-FF582D134DD8}" srcOrd="0" destOrd="0" presId="urn:microsoft.com/office/officeart/2005/8/layout/hierarchy1"/>
    <dgm:cxn modelId="{A8AB79EA-FD41-4AFA-B743-E87043596EAE}" type="presParOf" srcId="{46A66D6A-F08C-4C11-97C6-FF582D134DD8}" destId="{4E860631-5092-47E0-8A8D-9CE8F2C52AF8}" srcOrd="0" destOrd="0" presId="urn:microsoft.com/office/officeart/2005/8/layout/hierarchy1"/>
    <dgm:cxn modelId="{55BFAF18-04EC-4EDC-AA71-003EF6651A13}" type="presParOf" srcId="{46A66D6A-F08C-4C11-97C6-FF582D134DD8}" destId="{905350C1-FE14-46E3-9FE5-A6982FECA21B}" srcOrd="1" destOrd="0" presId="urn:microsoft.com/office/officeart/2005/8/layout/hierarchy1"/>
    <dgm:cxn modelId="{21BDA2C4-B4D1-4CE7-8E0B-711E5F7D7799}" type="presParOf" srcId="{2A603E7B-EE96-4A2B-900F-FC96A0F5614E}" destId="{C307CA6A-5AA7-4BB4-B091-86DBFF0A8042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7" csCatId="colorful" phldr="1"/>
      <dgm:spPr/>
      <dgm:t>
        <a:bodyPr/>
        <a:lstStyle/>
        <a:p>
          <a:endParaRPr lang="en-US"/>
        </a:p>
      </dgm:t>
    </dgm:pt>
    <dgm:pt modelId="{AFAF7FF3-0944-4061-9E89-DEC4B4679721}">
      <dgm:prSet/>
      <dgm:spPr/>
      <dgm:t>
        <a:bodyPr/>
        <a:lstStyle/>
        <a:p>
          <a:pPr rtl="0"/>
          <a:r>
            <a:rPr lang="en-US" b="0" noProof="0"/>
            <a:t>Used against SQL database with JPA interface and Java</a:t>
          </a:r>
          <a:endParaRPr lang="en-US" noProof="0"/>
        </a:p>
      </dgm:t>
    </dgm:pt>
    <dgm:pt modelId="{C816BAD8-9953-4A4A-8938-7B4D18475881}" type="parTrans" cxnId="{9CF0DA5B-9E46-456F-9921-B2153CBAB778}">
      <dgm:prSet/>
      <dgm:spPr/>
      <dgm:t>
        <a:bodyPr/>
        <a:lstStyle/>
        <a:p>
          <a:endParaRPr lang="en-US"/>
        </a:p>
      </dgm:t>
    </dgm:pt>
    <dgm:pt modelId="{C767E682-B45A-41FF-AF91-A16726A4E65F}" type="sibTrans" cxnId="{9CF0DA5B-9E46-456F-9921-B2153CBAB778}">
      <dgm:prSet/>
      <dgm:spPr/>
      <dgm:t>
        <a:bodyPr/>
        <a:lstStyle/>
        <a:p>
          <a:endParaRPr lang="en-US"/>
        </a:p>
      </dgm:t>
    </dgm:pt>
    <dgm:pt modelId="{AFD0E0CD-1DB7-4AD6-A9D5-0507B8E02207}">
      <dgm:prSet/>
      <dgm:spPr/>
      <dgm:t>
        <a:bodyPr/>
        <a:lstStyle/>
        <a:p>
          <a:pPr rtl="0"/>
          <a:r>
            <a:rPr lang="en-US" noProof="0" dirty="0"/>
            <a:t>Multiple database connection support</a:t>
          </a:r>
        </a:p>
      </dgm:t>
    </dgm:pt>
    <dgm:pt modelId="{272487DB-B906-41F4-9A4A-46ED50C516E7}" type="parTrans" cxnId="{173E04CF-85B0-469E-99B6-FA224FB2C2C9}">
      <dgm:prSet/>
      <dgm:spPr/>
      <dgm:t>
        <a:bodyPr/>
        <a:lstStyle/>
        <a:p>
          <a:endParaRPr lang="en-US"/>
        </a:p>
      </dgm:t>
    </dgm:pt>
    <dgm:pt modelId="{263892EE-6C7D-4EA0-A6CF-3162A3D8D691}" type="sibTrans" cxnId="{173E04CF-85B0-469E-99B6-FA224FB2C2C9}">
      <dgm:prSet/>
      <dgm:spPr/>
      <dgm:t>
        <a:bodyPr/>
        <a:lstStyle/>
        <a:p>
          <a:endParaRPr lang="en-US"/>
        </a:p>
      </dgm:t>
    </dgm:pt>
    <dgm:pt modelId="{18952101-9749-4861-9B9A-55D49C01F273}">
      <dgm:prSet/>
      <dgm:spPr/>
      <dgm:t>
        <a:bodyPr/>
        <a:lstStyle/>
        <a:p>
          <a:pPr rtl="0"/>
          <a:r>
            <a:rPr lang="en-US" b="0" noProof="0"/>
            <a:t>Object Relational Mapping</a:t>
          </a:r>
        </a:p>
      </dgm:t>
    </dgm:pt>
    <dgm:pt modelId="{F3012C05-7C73-40FF-86CA-4203FE872B88}" type="parTrans" cxnId="{9A8E63A1-CA30-4ADC-A0F7-5EFE1C92D63A}">
      <dgm:prSet/>
      <dgm:spPr/>
      <dgm:t>
        <a:bodyPr/>
        <a:lstStyle/>
        <a:p>
          <a:endParaRPr lang="en-US"/>
        </a:p>
      </dgm:t>
    </dgm:pt>
    <dgm:pt modelId="{2B24F4E7-953D-44B3-9C71-03D6FB780154}" type="sibTrans" cxnId="{9A8E63A1-CA30-4ADC-A0F7-5EFE1C92D63A}">
      <dgm:prSet/>
      <dgm:spPr/>
      <dgm:t>
        <a:bodyPr/>
        <a:lstStyle/>
        <a:p>
          <a:endParaRPr lang="en-US"/>
        </a:p>
      </dgm:t>
    </dgm:pt>
    <dgm:pt modelId="{BA40E115-1CB6-433D-B265-E5FA252D4A12}">
      <dgm:prSet/>
      <dgm:spPr/>
      <dgm:t>
        <a:bodyPr/>
        <a:lstStyle/>
        <a:p>
          <a:pPr rtl="0"/>
          <a:r>
            <a:rPr lang="en-US" b="0" noProof="0"/>
            <a:t>Easy to enhance into noSQL databases </a:t>
          </a:r>
        </a:p>
      </dgm:t>
    </dgm:pt>
    <dgm:pt modelId="{552C4D48-79D2-466E-A8A0-2653362065A7}" type="parTrans" cxnId="{F6697E84-2DB7-4D8F-8B03-F84CB744ABB0}">
      <dgm:prSet/>
      <dgm:spPr/>
      <dgm:t>
        <a:bodyPr/>
        <a:lstStyle/>
        <a:p>
          <a:endParaRPr lang="en-US"/>
        </a:p>
      </dgm:t>
    </dgm:pt>
    <dgm:pt modelId="{AE9CA89D-6A61-44CF-99A6-E95E9E0874ED}" type="sibTrans" cxnId="{F6697E84-2DB7-4D8F-8B03-F84CB744ABB0}">
      <dgm:prSet/>
      <dgm:spPr/>
      <dgm:t>
        <a:bodyPr/>
        <a:lstStyle/>
        <a:p>
          <a:endParaRPr lang="en-US"/>
        </a:p>
      </dgm:t>
    </dgm:pt>
    <dgm:pt modelId="{B15E09E9-4938-40AC-A2EF-07DC49678AFF}">
      <dgm:prSet/>
      <dgm:spPr/>
      <dgm:t>
        <a:bodyPr/>
        <a:lstStyle/>
        <a:p>
          <a:pPr rtl="0"/>
          <a:r>
            <a:rPr lang="en-US" b="0" noProof="0"/>
            <a:t>CSVs and flat files structure and data validation</a:t>
          </a:r>
        </a:p>
      </dgm:t>
    </dgm:pt>
    <dgm:pt modelId="{C5DC8E2C-0942-40D3-85DA-9DA0F1DEBAA1}" type="parTrans" cxnId="{4D1352C6-BDDC-4785-92A9-EBEBAD8E895E}">
      <dgm:prSet/>
      <dgm:spPr/>
      <dgm:t>
        <a:bodyPr/>
        <a:lstStyle/>
        <a:p>
          <a:endParaRPr lang="en-US"/>
        </a:p>
      </dgm:t>
    </dgm:pt>
    <dgm:pt modelId="{D969C791-2E85-411D-88FD-69B9B66745AC}" type="sibTrans" cxnId="{4D1352C6-BDDC-4785-92A9-EBEBAD8E895E}">
      <dgm:prSet/>
      <dgm:spPr/>
      <dgm:t>
        <a:bodyPr/>
        <a:lstStyle/>
        <a:p>
          <a:endParaRPr lang="en-US"/>
        </a:p>
      </dgm:t>
    </dgm:pt>
    <dgm:pt modelId="{005EC306-80DF-463A-809C-336005E13438}">
      <dgm:prSet/>
      <dgm:spPr/>
      <dgm:t>
        <a:bodyPr/>
        <a:lstStyle/>
        <a:p>
          <a:pPr rtl="0"/>
          <a:r>
            <a:rPr lang="en-US" b="0" noProof="0" dirty="0"/>
            <a:t>Main CRUD commands implemented with data type control</a:t>
          </a:r>
        </a:p>
      </dgm:t>
    </dgm:pt>
    <dgm:pt modelId="{6B91A55F-6B83-4DF8-8323-EE34C5B28CDA}" type="parTrans" cxnId="{49CBA657-6C06-4222-9052-E1DC9E56C01C}">
      <dgm:prSet/>
      <dgm:spPr/>
      <dgm:t>
        <a:bodyPr/>
        <a:lstStyle/>
        <a:p>
          <a:endParaRPr lang="en-US"/>
        </a:p>
      </dgm:t>
    </dgm:pt>
    <dgm:pt modelId="{1E9F894B-075A-4309-8FEC-FF34E6C1A587}" type="sibTrans" cxnId="{49CBA657-6C06-4222-9052-E1DC9E56C01C}">
      <dgm:prSet/>
      <dgm:spPr/>
      <dgm:t>
        <a:bodyPr/>
        <a:lstStyle/>
        <a:p>
          <a:endParaRPr lang="en-US"/>
        </a:p>
      </dgm:t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6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6"/>
      <dgm:spPr/>
    </dgm:pt>
    <dgm:pt modelId="{080232DF-F1AE-40A2-9FD4-410B9E4F6996}" type="pres">
      <dgm:prSet presAssocID="{7F0E5C44-F38F-4F59-B87E-A00E01F36002}" presName="dstNode" presStyleLbl="node1" presStyleIdx="0" presStyleCnt="6"/>
      <dgm:spPr/>
    </dgm:pt>
    <dgm:pt modelId="{A6384027-88DA-4DF0-9EA4-B824ACD9ED31}" type="pres">
      <dgm:prSet presAssocID="{AFAF7FF3-0944-4061-9E89-DEC4B4679721}" presName="text_1" presStyleLbl="node1" presStyleIdx="0" presStyleCnt="6">
        <dgm:presLayoutVars>
          <dgm:bulletEnabled val="1"/>
        </dgm:presLayoutVars>
      </dgm:prSet>
      <dgm:spPr/>
    </dgm:pt>
    <dgm:pt modelId="{E064BB96-7258-4102-8701-697A44FF3CCE}" type="pres">
      <dgm:prSet presAssocID="{AFAF7FF3-0944-4061-9E89-DEC4B4679721}" presName="accent_1" presStyleCnt="0"/>
      <dgm:spPr/>
    </dgm:pt>
    <dgm:pt modelId="{027132D5-AC2F-40F3-B0B9-276DCBF2C436}" type="pres">
      <dgm:prSet presAssocID="{AFAF7FF3-0944-4061-9E89-DEC4B4679721}" presName="accentRepeatNode" presStyleLbl="solidFgAcc1" presStyleIdx="0" presStyleCnt="6"/>
      <dgm:spPr/>
    </dgm:pt>
    <dgm:pt modelId="{B0602AF2-825D-41AA-ACAD-76BDD9CFA39E}" type="pres">
      <dgm:prSet presAssocID="{AFD0E0CD-1DB7-4AD6-A9D5-0507B8E02207}" presName="text_2" presStyleLbl="node1" presStyleIdx="1" presStyleCnt="6">
        <dgm:presLayoutVars>
          <dgm:bulletEnabled val="1"/>
        </dgm:presLayoutVars>
      </dgm:prSet>
      <dgm:spPr/>
    </dgm:pt>
    <dgm:pt modelId="{50327423-0E00-4BCC-B05A-83D2D419F5FB}" type="pres">
      <dgm:prSet presAssocID="{AFD0E0CD-1DB7-4AD6-A9D5-0507B8E02207}" presName="accent_2" presStyleCnt="0"/>
      <dgm:spPr/>
    </dgm:pt>
    <dgm:pt modelId="{ABFA75C7-8FF1-4362-A9E8-D577D12DB683}" type="pres">
      <dgm:prSet presAssocID="{AFD0E0CD-1DB7-4AD6-A9D5-0507B8E02207}" presName="accentRepeatNode" presStyleLbl="solidFgAcc1" presStyleIdx="1" presStyleCnt="6"/>
      <dgm:spPr/>
    </dgm:pt>
    <dgm:pt modelId="{18C77B1D-2C7E-4E44-BB9F-5CEEABF4A135}" type="pres">
      <dgm:prSet presAssocID="{18952101-9749-4861-9B9A-55D49C01F273}" presName="text_3" presStyleLbl="node1" presStyleIdx="2" presStyleCnt="6">
        <dgm:presLayoutVars>
          <dgm:bulletEnabled val="1"/>
        </dgm:presLayoutVars>
      </dgm:prSet>
      <dgm:spPr/>
    </dgm:pt>
    <dgm:pt modelId="{DFF388A7-FCD9-4DC5-88BE-509D9584816E}" type="pres">
      <dgm:prSet presAssocID="{18952101-9749-4861-9B9A-55D49C01F273}" presName="accent_3" presStyleCnt="0"/>
      <dgm:spPr/>
    </dgm:pt>
    <dgm:pt modelId="{855F703F-77AE-4EF7-B60D-3EB70FF2A17C}" type="pres">
      <dgm:prSet presAssocID="{18952101-9749-4861-9B9A-55D49C01F273}" presName="accentRepeatNode" presStyleLbl="solidFgAcc1" presStyleIdx="2" presStyleCnt="6"/>
      <dgm:spPr/>
    </dgm:pt>
    <dgm:pt modelId="{5CFE4212-15EB-46A7-8D0B-77D4878A03CD}" type="pres">
      <dgm:prSet presAssocID="{BA40E115-1CB6-433D-B265-E5FA252D4A12}" presName="text_4" presStyleLbl="node1" presStyleIdx="3" presStyleCnt="6">
        <dgm:presLayoutVars>
          <dgm:bulletEnabled val="1"/>
        </dgm:presLayoutVars>
      </dgm:prSet>
      <dgm:spPr/>
    </dgm:pt>
    <dgm:pt modelId="{8770BB80-C82E-49EE-AAA0-ED26D77FFE1A}" type="pres">
      <dgm:prSet presAssocID="{BA40E115-1CB6-433D-B265-E5FA252D4A12}" presName="accent_4" presStyleCnt="0"/>
      <dgm:spPr/>
    </dgm:pt>
    <dgm:pt modelId="{5CE55458-47F0-4A63-A1E7-EF4B89477ACC}" type="pres">
      <dgm:prSet presAssocID="{BA40E115-1CB6-433D-B265-E5FA252D4A12}" presName="accentRepeatNode" presStyleLbl="solidFgAcc1" presStyleIdx="3" presStyleCnt="6"/>
      <dgm:spPr/>
    </dgm:pt>
    <dgm:pt modelId="{F7D1BD61-7CCA-47D7-831E-C01D8C751EFC}" type="pres">
      <dgm:prSet presAssocID="{B15E09E9-4938-40AC-A2EF-07DC49678AFF}" presName="text_5" presStyleLbl="node1" presStyleIdx="4" presStyleCnt="6">
        <dgm:presLayoutVars>
          <dgm:bulletEnabled val="1"/>
        </dgm:presLayoutVars>
      </dgm:prSet>
      <dgm:spPr/>
    </dgm:pt>
    <dgm:pt modelId="{7048FD1D-DB7E-4438-A64B-0E422B5301FF}" type="pres">
      <dgm:prSet presAssocID="{B15E09E9-4938-40AC-A2EF-07DC49678AFF}" presName="accent_5" presStyleCnt="0"/>
      <dgm:spPr/>
    </dgm:pt>
    <dgm:pt modelId="{1D5F703A-E11D-40BD-B3F8-9672C8E068CC}" type="pres">
      <dgm:prSet presAssocID="{B15E09E9-4938-40AC-A2EF-07DC49678AFF}" presName="accentRepeatNode" presStyleLbl="solidFgAcc1" presStyleIdx="4" presStyleCnt="6"/>
      <dgm:spPr/>
    </dgm:pt>
    <dgm:pt modelId="{9F156148-A913-461E-A185-0E590F7B3062}" type="pres">
      <dgm:prSet presAssocID="{005EC306-80DF-463A-809C-336005E13438}" presName="text_6" presStyleLbl="node1" presStyleIdx="5" presStyleCnt="6">
        <dgm:presLayoutVars>
          <dgm:bulletEnabled val="1"/>
        </dgm:presLayoutVars>
      </dgm:prSet>
      <dgm:spPr/>
    </dgm:pt>
    <dgm:pt modelId="{0E4EA2AF-E3EF-4529-AC84-4476986C9365}" type="pres">
      <dgm:prSet presAssocID="{005EC306-80DF-463A-809C-336005E13438}" presName="accent_6" presStyleCnt="0"/>
      <dgm:spPr/>
    </dgm:pt>
    <dgm:pt modelId="{86E79B6D-E152-4CCA-AA1F-5F6069AB21D3}" type="pres">
      <dgm:prSet presAssocID="{005EC306-80DF-463A-809C-336005E13438}" presName="accentRepeatNode" presStyleLbl="solidFgAcc1" presStyleIdx="5" presStyleCnt="6"/>
      <dgm:spPr/>
    </dgm:pt>
  </dgm:ptLst>
  <dgm:cxnLst>
    <dgm:cxn modelId="{AB179815-8F58-4A9A-8947-28940C79076C}" type="presOf" srcId="{AFD0E0CD-1DB7-4AD6-A9D5-0507B8E02207}" destId="{B0602AF2-825D-41AA-ACAD-76BDD9CFA39E}" srcOrd="0" destOrd="0" presId="urn:microsoft.com/office/officeart/2008/layout/VerticalCurvedList"/>
    <dgm:cxn modelId="{C5F26B24-D09F-459A-BB3D-99E83D80D36B}" type="presOf" srcId="{005EC306-80DF-463A-809C-336005E13438}" destId="{9F156148-A913-461E-A185-0E590F7B3062}" srcOrd="0" destOrd="0" presId="urn:microsoft.com/office/officeart/2008/layout/VerticalCurvedList"/>
    <dgm:cxn modelId="{9CF0DA5B-9E46-456F-9921-B2153CBAB778}" srcId="{7F0E5C44-F38F-4F59-B87E-A00E01F36002}" destId="{AFAF7FF3-0944-4061-9E89-DEC4B4679721}" srcOrd="0" destOrd="0" parTransId="{C816BAD8-9953-4A4A-8938-7B4D18475881}" sibTransId="{C767E682-B45A-41FF-AF91-A16726A4E65F}"/>
    <dgm:cxn modelId="{D2C51863-4F0C-4283-9A36-D19AE17149E7}" type="presOf" srcId="{18952101-9749-4861-9B9A-55D49C01F273}" destId="{18C77B1D-2C7E-4E44-BB9F-5CEEABF4A135}" srcOrd="0" destOrd="0" presId="urn:microsoft.com/office/officeart/2008/layout/VerticalCurvedList"/>
    <dgm:cxn modelId="{49CBA657-6C06-4222-9052-E1DC9E56C01C}" srcId="{7F0E5C44-F38F-4F59-B87E-A00E01F36002}" destId="{005EC306-80DF-463A-809C-336005E13438}" srcOrd="5" destOrd="0" parTransId="{6B91A55F-6B83-4DF8-8323-EE34C5B28CDA}" sibTransId="{1E9F894B-075A-4309-8FEC-FF34E6C1A587}"/>
    <dgm:cxn modelId="{2615A87B-A1F5-45D1-A51E-18AE8033F513}" type="presOf" srcId="{B15E09E9-4938-40AC-A2EF-07DC49678AFF}" destId="{F7D1BD61-7CCA-47D7-831E-C01D8C751EFC}" srcOrd="0" destOrd="0" presId="urn:microsoft.com/office/officeart/2008/layout/VerticalCurvedList"/>
    <dgm:cxn modelId="{F6697E84-2DB7-4D8F-8B03-F84CB744ABB0}" srcId="{7F0E5C44-F38F-4F59-B87E-A00E01F36002}" destId="{BA40E115-1CB6-433D-B265-E5FA252D4A12}" srcOrd="3" destOrd="0" parTransId="{552C4D48-79D2-466E-A8A0-2653362065A7}" sibTransId="{AE9CA89D-6A61-44CF-99A6-E95E9E0874ED}"/>
    <dgm:cxn modelId="{8E174091-31B3-44BD-A2D8-6F8B0D8E3D14}" type="presOf" srcId="{7F0E5C44-F38F-4F59-B87E-A00E01F36002}" destId="{20B3E8DE-E296-4B0B-9297-3AD755DECFA4}" srcOrd="0" destOrd="0" presId="urn:microsoft.com/office/officeart/2008/layout/VerticalCurvedList"/>
    <dgm:cxn modelId="{86B03F94-96FA-4F8A-BD60-33A2530D87B2}" type="presOf" srcId="{AFAF7FF3-0944-4061-9E89-DEC4B4679721}" destId="{A6384027-88DA-4DF0-9EA4-B824ACD9ED31}" srcOrd="0" destOrd="0" presId="urn:microsoft.com/office/officeart/2008/layout/VerticalCurvedList"/>
    <dgm:cxn modelId="{40F90796-E7F0-4F02-A1F6-5299DB169F8A}" type="presOf" srcId="{C767E682-B45A-41FF-AF91-A16726A4E65F}" destId="{A2DEE40E-0B66-4B91-8AC9-45EB49F811C8}" srcOrd="0" destOrd="0" presId="urn:microsoft.com/office/officeart/2008/layout/VerticalCurvedList"/>
    <dgm:cxn modelId="{9A8E63A1-CA30-4ADC-A0F7-5EFE1C92D63A}" srcId="{7F0E5C44-F38F-4F59-B87E-A00E01F36002}" destId="{18952101-9749-4861-9B9A-55D49C01F273}" srcOrd="2" destOrd="0" parTransId="{F3012C05-7C73-40FF-86CA-4203FE872B88}" sibTransId="{2B24F4E7-953D-44B3-9C71-03D6FB780154}"/>
    <dgm:cxn modelId="{150883C1-D700-4D16-B970-572D947EAECD}" type="presOf" srcId="{BA40E115-1CB6-433D-B265-E5FA252D4A12}" destId="{5CFE4212-15EB-46A7-8D0B-77D4878A03CD}" srcOrd="0" destOrd="0" presId="urn:microsoft.com/office/officeart/2008/layout/VerticalCurvedList"/>
    <dgm:cxn modelId="{4D1352C6-BDDC-4785-92A9-EBEBAD8E895E}" srcId="{7F0E5C44-F38F-4F59-B87E-A00E01F36002}" destId="{B15E09E9-4938-40AC-A2EF-07DC49678AFF}" srcOrd="4" destOrd="0" parTransId="{C5DC8E2C-0942-40D3-85DA-9DA0F1DEBAA1}" sibTransId="{D969C791-2E85-411D-88FD-69B9B66745AC}"/>
    <dgm:cxn modelId="{173E04CF-85B0-469E-99B6-FA224FB2C2C9}" srcId="{7F0E5C44-F38F-4F59-B87E-A00E01F36002}" destId="{AFD0E0CD-1DB7-4AD6-A9D5-0507B8E02207}" srcOrd="1" destOrd="0" parTransId="{272487DB-B906-41F4-9A4A-46ED50C516E7}" sibTransId="{263892EE-6C7D-4EA0-A6CF-3162A3D8D691}"/>
    <dgm:cxn modelId="{41B8A8CD-541B-40AA-B3C4-FD166BFF9886}" type="presParOf" srcId="{20B3E8DE-E296-4B0B-9297-3AD755DECFA4}" destId="{24C282F9-CC65-4ECF-B3E9-94A85C0AF7AC}" srcOrd="0" destOrd="0" presId="urn:microsoft.com/office/officeart/2008/layout/VerticalCurvedList"/>
    <dgm:cxn modelId="{B4A967B4-5562-4316-BB68-8A1A3DC06A17}" type="presParOf" srcId="{24C282F9-CC65-4ECF-B3E9-94A85C0AF7AC}" destId="{E0BB4683-76B2-4A56-B37C-3465F67B753D}" srcOrd="0" destOrd="0" presId="urn:microsoft.com/office/officeart/2008/layout/VerticalCurvedList"/>
    <dgm:cxn modelId="{D16FC945-82E5-4DBB-AFC5-107E66805C72}" type="presParOf" srcId="{E0BB4683-76B2-4A56-B37C-3465F67B753D}" destId="{1604BA2B-9262-4FB9-BC42-0CFDF7DCDF42}" srcOrd="0" destOrd="0" presId="urn:microsoft.com/office/officeart/2008/layout/VerticalCurvedList"/>
    <dgm:cxn modelId="{CA9562A8-F277-44B4-B4C0-FE30CF23DD13}" type="presParOf" srcId="{E0BB4683-76B2-4A56-B37C-3465F67B753D}" destId="{A2DEE40E-0B66-4B91-8AC9-45EB49F811C8}" srcOrd="1" destOrd="0" presId="urn:microsoft.com/office/officeart/2008/layout/VerticalCurvedList"/>
    <dgm:cxn modelId="{DE71DB96-1B04-4709-AA42-8C87E66DBAB1}" type="presParOf" srcId="{E0BB4683-76B2-4A56-B37C-3465F67B753D}" destId="{EF74BBB2-5EF5-4416-845A-8434ECD2FC8B}" srcOrd="2" destOrd="0" presId="urn:microsoft.com/office/officeart/2008/layout/VerticalCurvedList"/>
    <dgm:cxn modelId="{C9FFA50D-5D6D-45FC-A721-AE7ABB09F385}" type="presParOf" srcId="{E0BB4683-76B2-4A56-B37C-3465F67B753D}" destId="{080232DF-F1AE-40A2-9FD4-410B9E4F6996}" srcOrd="3" destOrd="0" presId="urn:microsoft.com/office/officeart/2008/layout/VerticalCurvedList"/>
    <dgm:cxn modelId="{95D3052F-33F9-4BDE-8095-2886383714BB}" type="presParOf" srcId="{24C282F9-CC65-4ECF-B3E9-94A85C0AF7AC}" destId="{A6384027-88DA-4DF0-9EA4-B824ACD9ED31}" srcOrd="1" destOrd="0" presId="urn:microsoft.com/office/officeart/2008/layout/VerticalCurvedList"/>
    <dgm:cxn modelId="{A2373F3F-7298-47C2-A9EE-815B23F48822}" type="presParOf" srcId="{24C282F9-CC65-4ECF-B3E9-94A85C0AF7AC}" destId="{E064BB96-7258-4102-8701-697A44FF3CCE}" srcOrd="2" destOrd="0" presId="urn:microsoft.com/office/officeart/2008/layout/VerticalCurvedList"/>
    <dgm:cxn modelId="{D8B7C447-84B3-4449-A878-2C980B512993}" type="presParOf" srcId="{E064BB96-7258-4102-8701-697A44FF3CCE}" destId="{027132D5-AC2F-40F3-B0B9-276DCBF2C436}" srcOrd="0" destOrd="0" presId="urn:microsoft.com/office/officeart/2008/layout/VerticalCurvedList"/>
    <dgm:cxn modelId="{67BF545A-1F9C-49A1-A375-444A2475AAC8}" type="presParOf" srcId="{24C282F9-CC65-4ECF-B3E9-94A85C0AF7AC}" destId="{B0602AF2-825D-41AA-ACAD-76BDD9CFA39E}" srcOrd="3" destOrd="0" presId="urn:microsoft.com/office/officeart/2008/layout/VerticalCurvedList"/>
    <dgm:cxn modelId="{3B6A7CA8-A653-4416-A939-AE97566B926A}" type="presParOf" srcId="{24C282F9-CC65-4ECF-B3E9-94A85C0AF7AC}" destId="{50327423-0E00-4BCC-B05A-83D2D419F5FB}" srcOrd="4" destOrd="0" presId="urn:microsoft.com/office/officeart/2008/layout/VerticalCurvedList"/>
    <dgm:cxn modelId="{0E7D7478-9ABB-4893-B3C0-2BC59AC1C796}" type="presParOf" srcId="{50327423-0E00-4BCC-B05A-83D2D419F5FB}" destId="{ABFA75C7-8FF1-4362-A9E8-D577D12DB683}" srcOrd="0" destOrd="0" presId="urn:microsoft.com/office/officeart/2008/layout/VerticalCurvedList"/>
    <dgm:cxn modelId="{B75EAE8D-DA22-4E06-8E49-A11F9CC196DD}" type="presParOf" srcId="{24C282F9-CC65-4ECF-B3E9-94A85C0AF7AC}" destId="{18C77B1D-2C7E-4E44-BB9F-5CEEABF4A135}" srcOrd="5" destOrd="0" presId="urn:microsoft.com/office/officeart/2008/layout/VerticalCurvedList"/>
    <dgm:cxn modelId="{C28ACB6F-BE5E-4A8B-B9C3-6B0A02A73F7C}" type="presParOf" srcId="{24C282F9-CC65-4ECF-B3E9-94A85C0AF7AC}" destId="{DFF388A7-FCD9-4DC5-88BE-509D9584816E}" srcOrd="6" destOrd="0" presId="urn:microsoft.com/office/officeart/2008/layout/VerticalCurvedList"/>
    <dgm:cxn modelId="{C9F6EFE9-356E-46B8-97A4-94EB23E11E97}" type="presParOf" srcId="{DFF388A7-FCD9-4DC5-88BE-509D9584816E}" destId="{855F703F-77AE-4EF7-B60D-3EB70FF2A17C}" srcOrd="0" destOrd="0" presId="urn:microsoft.com/office/officeart/2008/layout/VerticalCurvedList"/>
    <dgm:cxn modelId="{184EF065-B930-4319-83B3-97EF9D40A8E1}" type="presParOf" srcId="{24C282F9-CC65-4ECF-B3E9-94A85C0AF7AC}" destId="{5CFE4212-15EB-46A7-8D0B-77D4878A03CD}" srcOrd="7" destOrd="0" presId="urn:microsoft.com/office/officeart/2008/layout/VerticalCurvedList"/>
    <dgm:cxn modelId="{72234754-5D49-420F-AFAE-4C06C2DCCD2F}" type="presParOf" srcId="{24C282F9-CC65-4ECF-B3E9-94A85C0AF7AC}" destId="{8770BB80-C82E-49EE-AAA0-ED26D77FFE1A}" srcOrd="8" destOrd="0" presId="urn:microsoft.com/office/officeart/2008/layout/VerticalCurvedList"/>
    <dgm:cxn modelId="{D1BAD5E6-59B7-4853-8539-653DA3C9FF2D}" type="presParOf" srcId="{8770BB80-C82E-49EE-AAA0-ED26D77FFE1A}" destId="{5CE55458-47F0-4A63-A1E7-EF4B89477ACC}" srcOrd="0" destOrd="0" presId="urn:microsoft.com/office/officeart/2008/layout/VerticalCurvedList"/>
    <dgm:cxn modelId="{9634ECB1-9E90-4CE3-B011-D832C712D122}" type="presParOf" srcId="{24C282F9-CC65-4ECF-B3E9-94A85C0AF7AC}" destId="{F7D1BD61-7CCA-47D7-831E-C01D8C751EFC}" srcOrd="9" destOrd="0" presId="urn:microsoft.com/office/officeart/2008/layout/VerticalCurvedList"/>
    <dgm:cxn modelId="{CCD4411B-51CC-4E85-8F79-3DE18C71D397}" type="presParOf" srcId="{24C282F9-CC65-4ECF-B3E9-94A85C0AF7AC}" destId="{7048FD1D-DB7E-4438-A64B-0E422B5301FF}" srcOrd="10" destOrd="0" presId="urn:microsoft.com/office/officeart/2008/layout/VerticalCurvedList"/>
    <dgm:cxn modelId="{681399D2-D969-4A2F-AD4A-A4BF433379AF}" type="presParOf" srcId="{7048FD1D-DB7E-4438-A64B-0E422B5301FF}" destId="{1D5F703A-E11D-40BD-B3F8-9672C8E068CC}" srcOrd="0" destOrd="0" presId="urn:microsoft.com/office/officeart/2008/layout/VerticalCurvedList"/>
    <dgm:cxn modelId="{C32BF922-F349-4285-96FA-3F1078E82C8D}" type="presParOf" srcId="{24C282F9-CC65-4ECF-B3E9-94A85C0AF7AC}" destId="{9F156148-A913-461E-A185-0E590F7B3062}" srcOrd="11" destOrd="0" presId="urn:microsoft.com/office/officeart/2008/layout/VerticalCurvedList"/>
    <dgm:cxn modelId="{E8BD4CB4-67CF-4E51-B034-F42A7F4ADA3D}" type="presParOf" srcId="{24C282F9-CC65-4ECF-B3E9-94A85C0AF7AC}" destId="{0E4EA2AF-E3EF-4529-AC84-4476986C9365}" srcOrd="12" destOrd="0" presId="urn:microsoft.com/office/officeart/2008/layout/VerticalCurvedList"/>
    <dgm:cxn modelId="{69CB7DA8-3A38-4605-A411-DF6CA91662B7}" type="presParOf" srcId="{0E4EA2AF-E3EF-4529-AC84-4476986C9365}" destId="{86E79B6D-E152-4CCA-AA1F-5F6069AB21D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8" csCatId="colorful" phldr="1"/>
      <dgm:spPr/>
      <dgm:t>
        <a:bodyPr/>
        <a:lstStyle/>
        <a:p>
          <a:endParaRPr lang="en-US"/>
        </a:p>
      </dgm:t>
    </dgm:pt>
    <dgm:pt modelId="{9F55D7CF-8097-4194-8244-B89F07303527}">
      <dgm:prSet/>
      <dgm:spPr/>
      <dgm:t>
        <a:bodyPr/>
        <a:lstStyle/>
        <a:p>
          <a:pPr rtl="0"/>
          <a:r>
            <a:rPr lang="en-US" noProof="0"/>
            <a:t>One business test logic for all platforms</a:t>
          </a:r>
        </a:p>
      </dgm:t>
    </dgm:pt>
    <dgm:pt modelId="{71B80231-6085-4C15-B487-3B1A2767A074}" type="parTrans" cxnId="{B51C1A01-DB8E-4309-84FA-007EBB17BAF6}">
      <dgm:prSet/>
      <dgm:spPr/>
      <dgm:t>
        <a:bodyPr/>
        <a:lstStyle/>
        <a:p>
          <a:endParaRPr lang="en-US"/>
        </a:p>
      </dgm:t>
    </dgm:pt>
    <dgm:pt modelId="{34E8E9D6-BAF0-4F3E-9BE8-2E41F1C3C941}" type="sibTrans" cxnId="{B51C1A01-DB8E-4309-84FA-007EBB17BAF6}">
      <dgm:prSet/>
      <dgm:spPr/>
      <dgm:t>
        <a:bodyPr/>
        <a:lstStyle/>
        <a:p>
          <a:endParaRPr lang="en-US"/>
        </a:p>
      </dgm:t>
    </dgm:pt>
    <dgm:pt modelId="{E7DDF01B-163C-41C8-B686-C320D2CB74AA}">
      <dgm:prSet/>
      <dgm:spPr/>
      <dgm:t>
        <a:bodyPr/>
        <a:lstStyle/>
        <a:p>
          <a:pPr rtl="0"/>
          <a:r>
            <a:rPr lang="en-US" b="0" noProof="0"/>
            <a:t>Page Object Model architecture</a:t>
          </a:r>
        </a:p>
      </dgm:t>
    </dgm:pt>
    <dgm:pt modelId="{F0762D0B-538B-4881-A6AA-91F8AD11B227}" type="parTrans" cxnId="{E7F5DE4E-3630-4554-AB12-C40DC12F3775}">
      <dgm:prSet/>
      <dgm:spPr/>
      <dgm:t>
        <a:bodyPr/>
        <a:lstStyle/>
        <a:p>
          <a:endParaRPr lang="en-US"/>
        </a:p>
      </dgm:t>
    </dgm:pt>
    <dgm:pt modelId="{F492D991-5B7A-455B-8F51-CD32FDC446FC}" type="sibTrans" cxnId="{E7F5DE4E-3630-4554-AB12-C40DC12F3775}">
      <dgm:prSet/>
      <dgm:spPr/>
      <dgm:t>
        <a:bodyPr/>
        <a:lstStyle/>
        <a:p>
          <a:endParaRPr lang="en-US"/>
        </a:p>
      </dgm:t>
    </dgm:pt>
    <dgm:pt modelId="{AFAF7FF3-0944-4061-9E89-DEC4B4679721}">
      <dgm:prSet/>
      <dgm:spPr/>
      <dgm:t>
        <a:bodyPr/>
        <a:lstStyle/>
        <a:p>
          <a:pPr rtl="0"/>
          <a:r>
            <a:rPr lang="en-US" b="0" noProof="0"/>
            <a:t>Native mobile app tests for Android and iOS with Appium library and Java</a:t>
          </a:r>
          <a:endParaRPr lang="en-US" noProof="0"/>
        </a:p>
      </dgm:t>
    </dgm:pt>
    <dgm:pt modelId="{C816BAD8-9953-4A4A-8938-7B4D18475881}" type="parTrans" cxnId="{9CF0DA5B-9E46-456F-9921-B2153CBAB778}">
      <dgm:prSet/>
      <dgm:spPr/>
      <dgm:t>
        <a:bodyPr/>
        <a:lstStyle/>
        <a:p>
          <a:endParaRPr lang="en-US"/>
        </a:p>
      </dgm:t>
    </dgm:pt>
    <dgm:pt modelId="{C767E682-B45A-41FF-AF91-A16726A4E65F}" type="sibTrans" cxnId="{9CF0DA5B-9E46-456F-9921-B2153CBAB778}">
      <dgm:prSet/>
      <dgm:spPr/>
      <dgm:t>
        <a:bodyPr/>
        <a:lstStyle/>
        <a:p>
          <a:endParaRPr lang="en-US" noProof="0"/>
        </a:p>
      </dgm:t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3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3"/>
      <dgm:spPr/>
    </dgm:pt>
    <dgm:pt modelId="{080232DF-F1AE-40A2-9FD4-410B9E4F6996}" type="pres">
      <dgm:prSet presAssocID="{7F0E5C44-F38F-4F59-B87E-A00E01F36002}" presName="dstNode" presStyleLbl="node1" presStyleIdx="0" presStyleCnt="3"/>
      <dgm:spPr/>
    </dgm:pt>
    <dgm:pt modelId="{A6384027-88DA-4DF0-9EA4-B824ACD9ED31}" type="pres">
      <dgm:prSet presAssocID="{AFAF7FF3-0944-4061-9E89-DEC4B4679721}" presName="text_1" presStyleLbl="node1" presStyleIdx="0" presStyleCnt="3">
        <dgm:presLayoutVars>
          <dgm:bulletEnabled val="1"/>
        </dgm:presLayoutVars>
      </dgm:prSet>
      <dgm:spPr/>
    </dgm:pt>
    <dgm:pt modelId="{E064BB96-7258-4102-8701-697A44FF3CCE}" type="pres">
      <dgm:prSet presAssocID="{AFAF7FF3-0944-4061-9E89-DEC4B4679721}" presName="accent_1" presStyleCnt="0"/>
      <dgm:spPr/>
    </dgm:pt>
    <dgm:pt modelId="{027132D5-AC2F-40F3-B0B9-276DCBF2C436}" type="pres">
      <dgm:prSet presAssocID="{AFAF7FF3-0944-4061-9E89-DEC4B4679721}" presName="accentRepeatNode" presStyleLbl="solidFgAcc1" presStyleIdx="0" presStyleCnt="3"/>
      <dgm:spPr/>
    </dgm:pt>
    <dgm:pt modelId="{D0D2D356-75B9-4F71-9A09-1360274E0708}" type="pres">
      <dgm:prSet presAssocID="{9F55D7CF-8097-4194-8244-B89F07303527}" presName="text_2" presStyleLbl="node1" presStyleIdx="1" presStyleCnt="3">
        <dgm:presLayoutVars>
          <dgm:bulletEnabled val="1"/>
        </dgm:presLayoutVars>
      </dgm:prSet>
      <dgm:spPr/>
    </dgm:pt>
    <dgm:pt modelId="{1CC7F41D-2213-4D6F-A24A-801C9269B503}" type="pres">
      <dgm:prSet presAssocID="{9F55D7CF-8097-4194-8244-B89F07303527}" presName="accent_2" presStyleCnt="0"/>
      <dgm:spPr/>
    </dgm:pt>
    <dgm:pt modelId="{876AAFB9-EF87-4539-844B-B2D7225647F2}" type="pres">
      <dgm:prSet presAssocID="{9F55D7CF-8097-4194-8244-B89F07303527}" presName="accentRepeatNode" presStyleLbl="solidFgAcc1" presStyleIdx="1" presStyleCnt="3"/>
      <dgm:spPr/>
    </dgm:pt>
    <dgm:pt modelId="{A61D5E6F-59BB-4E2E-8142-3270C9A5A2FC}" type="pres">
      <dgm:prSet presAssocID="{E7DDF01B-163C-41C8-B686-C320D2CB74AA}" presName="text_3" presStyleLbl="node1" presStyleIdx="2" presStyleCnt="3">
        <dgm:presLayoutVars>
          <dgm:bulletEnabled val="1"/>
        </dgm:presLayoutVars>
      </dgm:prSet>
      <dgm:spPr/>
    </dgm:pt>
    <dgm:pt modelId="{BC731336-33EE-4011-9D4C-700D001AE88E}" type="pres">
      <dgm:prSet presAssocID="{E7DDF01B-163C-41C8-B686-C320D2CB74AA}" presName="accent_3" presStyleCnt="0"/>
      <dgm:spPr/>
    </dgm:pt>
    <dgm:pt modelId="{6F18A62C-4246-41F1-8CB4-4C11073D703E}" type="pres">
      <dgm:prSet presAssocID="{E7DDF01B-163C-41C8-B686-C320D2CB74AA}" presName="accentRepeatNode" presStyleLbl="solidFgAcc1" presStyleIdx="2" presStyleCnt="3"/>
      <dgm:spPr/>
    </dgm:pt>
  </dgm:ptLst>
  <dgm:cxnLst>
    <dgm:cxn modelId="{B51C1A01-DB8E-4309-84FA-007EBB17BAF6}" srcId="{7F0E5C44-F38F-4F59-B87E-A00E01F36002}" destId="{9F55D7CF-8097-4194-8244-B89F07303527}" srcOrd="1" destOrd="0" parTransId="{71B80231-6085-4C15-B487-3B1A2767A074}" sibTransId="{34E8E9D6-BAF0-4F3E-9BE8-2E41F1C3C941}"/>
    <dgm:cxn modelId="{FFE9B937-9ABA-42AD-8925-50BFEB8FCD3A}" type="presOf" srcId="{C767E682-B45A-41FF-AF91-A16726A4E65F}" destId="{A2DEE40E-0B66-4B91-8AC9-45EB49F811C8}" srcOrd="0" destOrd="0" presId="urn:microsoft.com/office/officeart/2008/layout/VerticalCurvedList"/>
    <dgm:cxn modelId="{9CF0DA5B-9E46-456F-9921-B2153CBAB778}" srcId="{7F0E5C44-F38F-4F59-B87E-A00E01F36002}" destId="{AFAF7FF3-0944-4061-9E89-DEC4B4679721}" srcOrd="0" destOrd="0" parTransId="{C816BAD8-9953-4A4A-8938-7B4D18475881}" sibTransId="{C767E682-B45A-41FF-AF91-A16726A4E65F}"/>
    <dgm:cxn modelId="{E7F5DE4E-3630-4554-AB12-C40DC12F3775}" srcId="{7F0E5C44-F38F-4F59-B87E-A00E01F36002}" destId="{E7DDF01B-163C-41C8-B686-C320D2CB74AA}" srcOrd="2" destOrd="0" parTransId="{F0762D0B-538B-4881-A6AA-91F8AD11B227}" sibTransId="{F492D991-5B7A-455B-8F51-CD32FDC446FC}"/>
    <dgm:cxn modelId="{CAFC5280-810D-4D75-BFF1-D0093989A7FB}" type="presOf" srcId="{E7DDF01B-163C-41C8-B686-C320D2CB74AA}" destId="{A61D5E6F-59BB-4E2E-8142-3270C9A5A2FC}" srcOrd="0" destOrd="0" presId="urn:microsoft.com/office/officeart/2008/layout/VerticalCurvedList"/>
    <dgm:cxn modelId="{0B3A2399-8B07-402D-AA76-D4639AB3E31D}" type="presOf" srcId="{9F55D7CF-8097-4194-8244-B89F07303527}" destId="{D0D2D356-75B9-4F71-9A09-1360274E0708}" srcOrd="0" destOrd="0" presId="urn:microsoft.com/office/officeart/2008/layout/VerticalCurvedList"/>
    <dgm:cxn modelId="{189E9EAC-B687-49BF-A66F-2514B6428AAA}" type="presOf" srcId="{AFAF7FF3-0944-4061-9E89-DEC4B4679721}" destId="{A6384027-88DA-4DF0-9EA4-B824ACD9ED31}" srcOrd="0" destOrd="0" presId="urn:microsoft.com/office/officeart/2008/layout/VerticalCurvedList"/>
    <dgm:cxn modelId="{D825D8D6-A2B8-4990-8442-29E312919B1E}" type="presOf" srcId="{7F0E5C44-F38F-4F59-B87E-A00E01F36002}" destId="{20B3E8DE-E296-4B0B-9297-3AD755DECFA4}" srcOrd="0" destOrd="0" presId="urn:microsoft.com/office/officeart/2008/layout/VerticalCurvedList"/>
    <dgm:cxn modelId="{B7CCDB7C-B615-4D0F-8D8F-20CAA53A6735}" type="presParOf" srcId="{20B3E8DE-E296-4B0B-9297-3AD755DECFA4}" destId="{24C282F9-CC65-4ECF-B3E9-94A85C0AF7AC}" srcOrd="0" destOrd="0" presId="urn:microsoft.com/office/officeart/2008/layout/VerticalCurvedList"/>
    <dgm:cxn modelId="{3B114E53-D6FA-4B1D-A20A-2A5A064898A7}" type="presParOf" srcId="{24C282F9-CC65-4ECF-B3E9-94A85C0AF7AC}" destId="{E0BB4683-76B2-4A56-B37C-3465F67B753D}" srcOrd="0" destOrd="0" presId="urn:microsoft.com/office/officeart/2008/layout/VerticalCurvedList"/>
    <dgm:cxn modelId="{65C615BC-7BE5-4668-9EBD-74AE1A1D73D9}" type="presParOf" srcId="{E0BB4683-76B2-4A56-B37C-3465F67B753D}" destId="{1604BA2B-9262-4FB9-BC42-0CFDF7DCDF42}" srcOrd="0" destOrd="0" presId="urn:microsoft.com/office/officeart/2008/layout/VerticalCurvedList"/>
    <dgm:cxn modelId="{96737417-AC65-4FDB-95ED-C3A3357CB436}" type="presParOf" srcId="{E0BB4683-76B2-4A56-B37C-3465F67B753D}" destId="{A2DEE40E-0B66-4B91-8AC9-45EB49F811C8}" srcOrd="1" destOrd="0" presId="urn:microsoft.com/office/officeart/2008/layout/VerticalCurvedList"/>
    <dgm:cxn modelId="{367E2507-4DF1-4E31-B052-5B2F26CE7D25}" type="presParOf" srcId="{E0BB4683-76B2-4A56-B37C-3465F67B753D}" destId="{EF74BBB2-5EF5-4416-845A-8434ECD2FC8B}" srcOrd="2" destOrd="0" presId="urn:microsoft.com/office/officeart/2008/layout/VerticalCurvedList"/>
    <dgm:cxn modelId="{BE17F2FB-12FA-449F-9F1B-48ECFA09FAF4}" type="presParOf" srcId="{E0BB4683-76B2-4A56-B37C-3465F67B753D}" destId="{080232DF-F1AE-40A2-9FD4-410B9E4F6996}" srcOrd="3" destOrd="0" presId="urn:microsoft.com/office/officeart/2008/layout/VerticalCurvedList"/>
    <dgm:cxn modelId="{05484181-71BC-4DA6-9195-E9FE611D3015}" type="presParOf" srcId="{24C282F9-CC65-4ECF-B3E9-94A85C0AF7AC}" destId="{A6384027-88DA-4DF0-9EA4-B824ACD9ED31}" srcOrd="1" destOrd="0" presId="urn:microsoft.com/office/officeart/2008/layout/VerticalCurvedList"/>
    <dgm:cxn modelId="{709A086C-C2CB-44D2-B8AF-E16717FD40BC}" type="presParOf" srcId="{24C282F9-CC65-4ECF-B3E9-94A85C0AF7AC}" destId="{E064BB96-7258-4102-8701-697A44FF3CCE}" srcOrd="2" destOrd="0" presId="urn:microsoft.com/office/officeart/2008/layout/VerticalCurvedList"/>
    <dgm:cxn modelId="{2F7BA68C-0D8B-40C7-92D2-CD973F54C292}" type="presParOf" srcId="{E064BB96-7258-4102-8701-697A44FF3CCE}" destId="{027132D5-AC2F-40F3-B0B9-276DCBF2C436}" srcOrd="0" destOrd="0" presId="urn:microsoft.com/office/officeart/2008/layout/VerticalCurvedList"/>
    <dgm:cxn modelId="{1A8D2E27-8ED4-49C9-8F14-C5F8360F3DD0}" type="presParOf" srcId="{24C282F9-CC65-4ECF-B3E9-94A85C0AF7AC}" destId="{D0D2D356-75B9-4F71-9A09-1360274E0708}" srcOrd="3" destOrd="0" presId="urn:microsoft.com/office/officeart/2008/layout/VerticalCurvedList"/>
    <dgm:cxn modelId="{CCBDF4F0-7870-4942-A3CE-7D5652C4F321}" type="presParOf" srcId="{24C282F9-CC65-4ECF-B3E9-94A85C0AF7AC}" destId="{1CC7F41D-2213-4D6F-A24A-801C9269B503}" srcOrd="4" destOrd="0" presId="urn:microsoft.com/office/officeart/2008/layout/VerticalCurvedList"/>
    <dgm:cxn modelId="{E683A31C-97CB-4F05-BE91-FD3B27695692}" type="presParOf" srcId="{1CC7F41D-2213-4D6F-A24A-801C9269B503}" destId="{876AAFB9-EF87-4539-844B-B2D7225647F2}" srcOrd="0" destOrd="0" presId="urn:microsoft.com/office/officeart/2008/layout/VerticalCurvedList"/>
    <dgm:cxn modelId="{2EDC2703-2D20-4C68-BD66-97E1C2814CF2}" type="presParOf" srcId="{24C282F9-CC65-4ECF-B3E9-94A85C0AF7AC}" destId="{A61D5E6F-59BB-4E2E-8142-3270C9A5A2FC}" srcOrd="5" destOrd="0" presId="urn:microsoft.com/office/officeart/2008/layout/VerticalCurvedList"/>
    <dgm:cxn modelId="{68E1C352-072A-4C9B-BD41-4272D3E81BC8}" type="presParOf" srcId="{24C282F9-CC65-4ECF-B3E9-94A85C0AF7AC}" destId="{BC731336-33EE-4011-9D4C-700D001AE88E}" srcOrd="6" destOrd="0" presId="urn:microsoft.com/office/officeart/2008/layout/VerticalCurvedList"/>
    <dgm:cxn modelId="{05D3A8EA-2671-46AB-9B16-4F7E42920D4B}" type="presParOf" srcId="{BC731336-33EE-4011-9D4C-700D001AE88E}" destId="{6F18A62C-4246-41F1-8CB4-4C11073D703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9" csCatId="colorful" phldr="1"/>
      <dgm:spPr/>
      <dgm:t>
        <a:bodyPr/>
        <a:lstStyle/>
        <a:p>
          <a:endParaRPr lang="en-US"/>
        </a:p>
      </dgm:t>
    </dgm:pt>
    <dgm:pt modelId="{9F55D7CF-8097-4194-8244-B89F07303527}">
      <dgm:prSet/>
      <dgm:spPr/>
      <dgm:t>
        <a:bodyPr/>
        <a:lstStyle/>
        <a:p>
          <a:pPr rtl="0"/>
          <a:r>
            <a:rPr lang="en-US" b="0" noProof="0"/>
            <a:t>Easy install</a:t>
          </a:r>
          <a:endParaRPr lang="en-US" noProof="0"/>
        </a:p>
      </dgm:t>
    </dgm:pt>
    <dgm:pt modelId="{71B80231-6085-4C15-B487-3B1A2767A074}" type="parTrans" cxnId="{B51C1A01-DB8E-4309-84FA-007EBB17BAF6}">
      <dgm:prSet/>
      <dgm:spPr/>
      <dgm:t>
        <a:bodyPr/>
        <a:lstStyle/>
        <a:p>
          <a:endParaRPr lang="en-US"/>
        </a:p>
      </dgm:t>
    </dgm:pt>
    <dgm:pt modelId="{34E8E9D6-BAF0-4F3E-9BE8-2E41F1C3C941}" type="sibTrans" cxnId="{B51C1A01-DB8E-4309-84FA-007EBB17BAF6}">
      <dgm:prSet/>
      <dgm:spPr/>
      <dgm:t>
        <a:bodyPr/>
        <a:lstStyle/>
        <a:p>
          <a:endParaRPr lang="en-US"/>
        </a:p>
      </dgm:t>
    </dgm:pt>
    <dgm:pt modelId="{3C1296A7-9188-4B78-A328-583A924CCB21}">
      <dgm:prSet/>
      <dgm:spPr/>
      <dgm:t>
        <a:bodyPr/>
        <a:lstStyle/>
        <a:p>
          <a:pPr rtl="0"/>
          <a:r>
            <a:rPr lang="en-US" b="0" noProof="0"/>
            <a:t>Build in auto-scaling functionality</a:t>
          </a:r>
          <a:endParaRPr lang="en-US" noProof="0"/>
        </a:p>
      </dgm:t>
    </dgm:pt>
    <dgm:pt modelId="{E9625C25-4F80-42C4-A58C-69E8B91CCA74}" type="parTrans" cxnId="{8EECACAD-03C9-491D-A160-8F972D6D6D76}">
      <dgm:prSet/>
      <dgm:spPr/>
      <dgm:t>
        <a:bodyPr/>
        <a:lstStyle/>
        <a:p>
          <a:endParaRPr lang="en-US"/>
        </a:p>
      </dgm:t>
    </dgm:pt>
    <dgm:pt modelId="{1A77C360-9A15-47CC-BBB6-9ACFEE281871}" type="sibTrans" cxnId="{8EECACAD-03C9-491D-A160-8F972D6D6D76}">
      <dgm:prSet/>
      <dgm:spPr/>
      <dgm:t>
        <a:bodyPr/>
        <a:lstStyle/>
        <a:p>
          <a:endParaRPr lang="en-US"/>
        </a:p>
      </dgm:t>
    </dgm:pt>
    <dgm:pt modelId="{92FD1954-47D4-4199-BE12-C32DC766FBBC}">
      <dgm:prSet/>
      <dgm:spPr/>
      <dgm:t>
        <a:bodyPr/>
        <a:lstStyle/>
        <a:p>
          <a:pPr rtl="0"/>
          <a:r>
            <a:rPr lang="en-US" b="0" noProof="0" dirty="0"/>
            <a:t>Solution created on top of </a:t>
          </a:r>
          <a:r>
            <a:rPr lang="en-US" b="0" noProof="0" dirty="0" err="1"/>
            <a:t>Docker</a:t>
          </a:r>
          <a:r>
            <a:rPr lang="en-US" b="0" noProof="0" dirty="0"/>
            <a:t> Swarm and </a:t>
          </a:r>
          <a:r>
            <a:rPr lang="en-US" b="0" noProof="0" dirty="0" err="1"/>
            <a:t>Docker</a:t>
          </a:r>
          <a:r>
            <a:rPr lang="en-US" b="0" noProof="0" dirty="0"/>
            <a:t> Selenium images</a:t>
          </a:r>
        </a:p>
      </dgm:t>
    </dgm:pt>
    <dgm:pt modelId="{9CF3A471-7245-466C-A018-DA834055A3A3}" type="parTrans" cxnId="{A7E2144A-8C84-4B72-867C-BB08F323DA33}">
      <dgm:prSet/>
      <dgm:spPr/>
      <dgm:t>
        <a:bodyPr/>
        <a:lstStyle/>
        <a:p>
          <a:endParaRPr lang="en-US"/>
        </a:p>
      </dgm:t>
    </dgm:pt>
    <dgm:pt modelId="{EF1FD010-B875-4CFB-BE5F-0B1A8D76105F}" type="sibTrans" cxnId="{A7E2144A-8C84-4B72-867C-BB08F323DA33}">
      <dgm:prSet/>
      <dgm:spPr/>
      <dgm:t>
        <a:bodyPr/>
        <a:lstStyle/>
        <a:p>
          <a:endParaRPr lang="en-US"/>
        </a:p>
      </dgm:t>
    </dgm:pt>
    <dgm:pt modelId="{AC4578B2-BB61-4E8B-AB36-9103238588CD}">
      <dgm:prSet/>
      <dgm:spPr/>
      <dgm:t>
        <a:bodyPr/>
        <a:lstStyle/>
        <a:p>
          <a:pPr rtl="0"/>
          <a:r>
            <a:rPr lang="en-US" noProof="0"/>
            <a:t>Transparent to on-premise or cloud provider</a:t>
          </a:r>
        </a:p>
      </dgm:t>
    </dgm:pt>
    <dgm:pt modelId="{A73A76EA-0AA9-431F-AF8C-6472F085DFEE}" type="parTrans" cxnId="{846F0F63-1FE2-4676-A972-4AA550310381}">
      <dgm:prSet/>
      <dgm:spPr/>
      <dgm:t>
        <a:bodyPr/>
        <a:lstStyle/>
        <a:p>
          <a:endParaRPr lang="en-US"/>
        </a:p>
      </dgm:t>
    </dgm:pt>
    <dgm:pt modelId="{8DAE2230-540F-4863-9E8C-107E928C3F6C}" type="sibTrans" cxnId="{846F0F63-1FE2-4676-A972-4AA550310381}">
      <dgm:prSet/>
      <dgm:spPr/>
      <dgm:t>
        <a:bodyPr/>
        <a:lstStyle/>
        <a:p>
          <a:endParaRPr lang="en-US"/>
        </a:p>
      </dgm:t>
    </dgm:pt>
    <dgm:pt modelId="{7F081CEC-2243-4CD5-8FCB-DF504B329756}">
      <dgm:prSet/>
      <dgm:spPr/>
      <dgm:t>
        <a:bodyPr/>
        <a:lstStyle/>
        <a:p>
          <a:pPr rtl="0"/>
          <a:r>
            <a:rPr lang="en-US" b="0" noProof="0"/>
            <a:t>Android emulator as scalable docker image</a:t>
          </a:r>
        </a:p>
      </dgm:t>
    </dgm:pt>
    <dgm:pt modelId="{5B1224B4-6AFE-4389-97E9-0833D80CF984}" type="parTrans" cxnId="{3AB76E37-14E0-40C6-A6B8-2FE6F5C22A7D}">
      <dgm:prSet/>
      <dgm:spPr/>
      <dgm:t>
        <a:bodyPr/>
        <a:lstStyle/>
        <a:p>
          <a:endParaRPr lang="en-US"/>
        </a:p>
      </dgm:t>
    </dgm:pt>
    <dgm:pt modelId="{9353A8B0-3765-46CE-891C-0ADADD587919}" type="sibTrans" cxnId="{3AB76E37-14E0-40C6-A6B8-2FE6F5C22A7D}">
      <dgm:prSet/>
      <dgm:spPr/>
      <dgm:t>
        <a:bodyPr/>
        <a:lstStyle/>
        <a:p>
          <a:endParaRPr lang="en-US"/>
        </a:p>
      </dgm:t>
    </dgm:pt>
    <dgm:pt modelId="{EB1FC145-5BBC-4265-9B29-CA95422C215D}">
      <dgm:prSet/>
      <dgm:spPr/>
      <dgm:t>
        <a:bodyPr/>
        <a:lstStyle/>
        <a:p>
          <a:pPr rtl="0"/>
          <a:r>
            <a:rPr lang="en-US" b="0" noProof="0" dirty="0"/>
            <a:t>Plug and play real devices (Android and </a:t>
          </a:r>
          <a:r>
            <a:rPr lang="en-US" b="0" noProof="0" dirty="0" err="1"/>
            <a:t>iOS</a:t>
          </a:r>
          <a:r>
            <a:rPr lang="en-US" b="0" noProof="0" dirty="0"/>
            <a:t>) </a:t>
          </a:r>
        </a:p>
      </dgm:t>
    </dgm:pt>
    <dgm:pt modelId="{422A40DA-B3BE-40D4-AB81-97BCF189585C}" type="parTrans" cxnId="{F64B5EB8-AAAC-42F9-8709-3FF1CA9EAB53}">
      <dgm:prSet/>
      <dgm:spPr/>
      <dgm:t>
        <a:bodyPr/>
        <a:lstStyle/>
        <a:p>
          <a:endParaRPr lang="en-US"/>
        </a:p>
      </dgm:t>
    </dgm:pt>
    <dgm:pt modelId="{8234318C-C8D0-43C8-95D9-8FD70BF89FFE}" type="sibTrans" cxnId="{F64B5EB8-AAAC-42F9-8709-3FF1CA9EAB53}">
      <dgm:prSet/>
      <dgm:spPr/>
      <dgm:t>
        <a:bodyPr/>
        <a:lstStyle/>
        <a:p>
          <a:endParaRPr lang="en-US"/>
        </a:p>
      </dgm:t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6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6"/>
      <dgm:spPr/>
    </dgm:pt>
    <dgm:pt modelId="{080232DF-F1AE-40A2-9FD4-410B9E4F6996}" type="pres">
      <dgm:prSet presAssocID="{7F0E5C44-F38F-4F59-B87E-A00E01F36002}" presName="dstNode" presStyleLbl="node1" presStyleIdx="0" presStyleCnt="6"/>
      <dgm:spPr/>
    </dgm:pt>
    <dgm:pt modelId="{3A2BAD60-1173-4F05-AA2D-A6CC7480963C}" type="pres">
      <dgm:prSet presAssocID="{9F55D7CF-8097-4194-8244-B89F07303527}" presName="text_1" presStyleLbl="node1" presStyleIdx="0" presStyleCnt="6">
        <dgm:presLayoutVars>
          <dgm:bulletEnabled val="1"/>
        </dgm:presLayoutVars>
      </dgm:prSet>
      <dgm:spPr/>
    </dgm:pt>
    <dgm:pt modelId="{81A215F9-B995-4D96-8151-666DA7537286}" type="pres">
      <dgm:prSet presAssocID="{9F55D7CF-8097-4194-8244-B89F07303527}" presName="accent_1" presStyleCnt="0"/>
      <dgm:spPr/>
    </dgm:pt>
    <dgm:pt modelId="{876AAFB9-EF87-4539-844B-B2D7225647F2}" type="pres">
      <dgm:prSet presAssocID="{9F55D7CF-8097-4194-8244-B89F07303527}" presName="accentRepeatNode" presStyleLbl="solidFgAcc1" presStyleIdx="0" presStyleCnt="6"/>
      <dgm:spPr/>
    </dgm:pt>
    <dgm:pt modelId="{CF5F2520-3AE5-48FE-83A2-B7A2DC9DE4F7}" type="pres">
      <dgm:prSet presAssocID="{3C1296A7-9188-4B78-A328-583A924CCB21}" presName="text_2" presStyleLbl="node1" presStyleIdx="1" presStyleCnt="6">
        <dgm:presLayoutVars>
          <dgm:bulletEnabled val="1"/>
        </dgm:presLayoutVars>
      </dgm:prSet>
      <dgm:spPr/>
    </dgm:pt>
    <dgm:pt modelId="{F6F5E520-4E95-458B-AEA5-52E366A7EE9B}" type="pres">
      <dgm:prSet presAssocID="{3C1296A7-9188-4B78-A328-583A924CCB21}" presName="accent_2" presStyleCnt="0"/>
      <dgm:spPr/>
    </dgm:pt>
    <dgm:pt modelId="{59FBA889-EC7D-49F7-81C3-DD02DF163D89}" type="pres">
      <dgm:prSet presAssocID="{3C1296A7-9188-4B78-A328-583A924CCB21}" presName="accentRepeatNode" presStyleLbl="solidFgAcc1" presStyleIdx="1" presStyleCnt="6"/>
      <dgm:spPr/>
    </dgm:pt>
    <dgm:pt modelId="{579C7A50-ED65-4DE6-8470-826950675538}" type="pres">
      <dgm:prSet presAssocID="{AC4578B2-BB61-4E8B-AB36-9103238588CD}" presName="text_3" presStyleLbl="node1" presStyleIdx="2" presStyleCnt="6">
        <dgm:presLayoutVars>
          <dgm:bulletEnabled val="1"/>
        </dgm:presLayoutVars>
      </dgm:prSet>
      <dgm:spPr/>
    </dgm:pt>
    <dgm:pt modelId="{672E8BA6-20EF-4C5C-8394-DDFB1AFE43C4}" type="pres">
      <dgm:prSet presAssocID="{AC4578B2-BB61-4E8B-AB36-9103238588CD}" presName="accent_3" presStyleCnt="0"/>
      <dgm:spPr/>
    </dgm:pt>
    <dgm:pt modelId="{D599E7E5-A18A-42A5-B314-741DB9C98AA9}" type="pres">
      <dgm:prSet presAssocID="{AC4578B2-BB61-4E8B-AB36-9103238588CD}" presName="accentRepeatNode" presStyleLbl="solidFgAcc1" presStyleIdx="2" presStyleCnt="6"/>
      <dgm:spPr/>
    </dgm:pt>
    <dgm:pt modelId="{928AA374-93C9-4169-97FD-5568BC2B1632}" type="pres">
      <dgm:prSet presAssocID="{7F081CEC-2243-4CD5-8FCB-DF504B329756}" presName="text_4" presStyleLbl="node1" presStyleIdx="3" presStyleCnt="6">
        <dgm:presLayoutVars>
          <dgm:bulletEnabled val="1"/>
        </dgm:presLayoutVars>
      </dgm:prSet>
      <dgm:spPr/>
    </dgm:pt>
    <dgm:pt modelId="{C9515D4F-19A7-47C8-96F8-285A35516CAB}" type="pres">
      <dgm:prSet presAssocID="{7F081CEC-2243-4CD5-8FCB-DF504B329756}" presName="accent_4" presStyleCnt="0"/>
      <dgm:spPr/>
    </dgm:pt>
    <dgm:pt modelId="{A206F9EC-E999-474B-8457-891B57BE68F9}" type="pres">
      <dgm:prSet presAssocID="{7F081CEC-2243-4CD5-8FCB-DF504B329756}" presName="accentRepeatNode" presStyleLbl="solidFgAcc1" presStyleIdx="3" presStyleCnt="6"/>
      <dgm:spPr/>
    </dgm:pt>
    <dgm:pt modelId="{58FEAA6C-DB72-45AF-AFC6-8A92C0E48BA9}" type="pres">
      <dgm:prSet presAssocID="{EB1FC145-5BBC-4265-9B29-CA95422C215D}" presName="text_5" presStyleLbl="node1" presStyleIdx="4" presStyleCnt="6">
        <dgm:presLayoutVars>
          <dgm:bulletEnabled val="1"/>
        </dgm:presLayoutVars>
      </dgm:prSet>
      <dgm:spPr/>
    </dgm:pt>
    <dgm:pt modelId="{B67115D2-3B92-4FD7-8BDF-76A570D436A3}" type="pres">
      <dgm:prSet presAssocID="{EB1FC145-5BBC-4265-9B29-CA95422C215D}" presName="accent_5" presStyleCnt="0"/>
      <dgm:spPr/>
    </dgm:pt>
    <dgm:pt modelId="{68DAF0FC-73DA-45D5-BE76-B3681D455142}" type="pres">
      <dgm:prSet presAssocID="{EB1FC145-5BBC-4265-9B29-CA95422C215D}" presName="accentRepeatNode" presStyleLbl="solidFgAcc1" presStyleIdx="4" presStyleCnt="6"/>
      <dgm:spPr/>
    </dgm:pt>
    <dgm:pt modelId="{C8FF8C33-490B-4C97-A7CE-387A32588968}" type="pres">
      <dgm:prSet presAssocID="{92FD1954-47D4-4199-BE12-C32DC766FBBC}" presName="text_6" presStyleLbl="node1" presStyleIdx="5" presStyleCnt="6">
        <dgm:presLayoutVars>
          <dgm:bulletEnabled val="1"/>
        </dgm:presLayoutVars>
      </dgm:prSet>
      <dgm:spPr/>
    </dgm:pt>
    <dgm:pt modelId="{A553E504-C125-4DC6-807A-B2DCBB1E07A9}" type="pres">
      <dgm:prSet presAssocID="{92FD1954-47D4-4199-BE12-C32DC766FBBC}" presName="accent_6" presStyleCnt="0"/>
      <dgm:spPr/>
    </dgm:pt>
    <dgm:pt modelId="{FF2D00FB-4CE6-46D9-BC8B-27E461766B9A}" type="pres">
      <dgm:prSet presAssocID="{92FD1954-47D4-4199-BE12-C32DC766FBBC}" presName="accentRepeatNode" presStyleLbl="solidFgAcc1" presStyleIdx="5" presStyleCnt="6"/>
      <dgm:spPr/>
    </dgm:pt>
  </dgm:ptLst>
  <dgm:cxnLst>
    <dgm:cxn modelId="{74AD7700-32C2-49F9-AF4B-134F471E4676}" type="presOf" srcId="{AC4578B2-BB61-4E8B-AB36-9103238588CD}" destId="{579C7A50-ED65-4DE6-8470-826950675538}" srcOrd="0" destOrd="0" presId="urn:microsoft.com/office/officeart/2008/layout/VerticalCurvedList"/>
    <dgm:cxn modelId="{B51C1A01-DB8E-4309-84FA-007EBB17BAF6}" srcId="{7F0E5C44-F38F-4F59-B87E-A00E01F36002}" destId="{9F55D7CF-8097-4194-8244-B89F07303527}" srcOrd="0" destOrd="0" parTransId="{71B80231-6085-4C15-B487-3B1A2767A074}" sibTransId="{34E8E9D6-BAF0-4F3E-9BE8-2E41F1C3C941}"/>
    <dgm:cxn modelId="{3AB76E37-14E0-40C6-A6B8-2FE6F5C22A7D}" srcId="{7F0E5C44-F38F-4F59-B87E-A00E01F36002}" destId="{7F081CEC-2243-4CD5-8FCB-DF504B329756}" srcOrd="3" destOrd="0" parTransId="{5B1224B4-6AFE-4389-97E9-0833D80CF984}" sibTransId="{9353A8B0-3765-46CE-891C-0ADADD587919}"/>
    <dgm:cxn modelId="{DF482239-6143-4CEB-98EB-9FF40238A41A}" type="presOf" srcId="{3C1296A7-9188-4B78-A328-583A924CCB21}" destId="{CF5F2520-3AE5-48FE-83A2-B7A2DC9DE4F7}" srcOrd="0" destOrd="0" presId="urn:microsoft.com/office/officeart/2008/layout/VerticalCurvedList"/>
    <dgm:cxn modelId="{1464B55E-09D6-46B7-9804-CE1D49500410}" type="presOf" srcId="{9F55D7CF-8097-4194-8244-B89F07303527}" destId="{3A2BAD60-1173-4F05-AA2D-A6CC7480963C}" srcOrd="0" destOrd="0" presId="urn:microsoft.com/office/officeart/2008/layout/VerticalCurvedList"/>
    <dgm:cxn modelId="{846F0F63-1FE2-4676-A972-4AA550310381}" srcId="{7F0E5C44-F38F-4F59-B87E-A00E01F36002}" destId="{AC4578B2-BB61-4E8B-AB36-9103238588CD}" srcOrd="2" destOrd="0" parTransId="{A73A76EA-0AA9-431F-AF8C-6472F085DFEE}" sibTransId="{8DAE2230-540F-4863-9E8C-107E928C3F6C}"/>
    <dgm:cxn modelId="{D685A964-ABF8-4A80-AE47-1B443758B4CF}" type="presOf" srcId="{7F081CEC-2243-4CD5-8FCB-DF504B329756}" destId="{928AA374-93C9-4169-97FD-5568BC2B1632}" srcOrd="0" destOrd="0" presId="urn:microsoft.com/office/officeart/2008/layout/VerticalCurvedList"/>
    <dgm:cxn modelId="{A7E2144A-8C84-4B72-867C-BB08F323DA33}" srcId="{7F0E5C44-F38F-4F59-B87E-A00E01F36002}" destId="{92FD1954-47D4-4199-BE12-C32DC766FBBC}" srcOrd="5" destOrd="0" parTransId="{9CF3A471-7245-466C-A018-DA834055A3A3}" sibTransId="{EF1FD010-B875-4CFB-BE5F-0B1A8D76105F}"/>
    <dgm:cxn modelId="{D3758479-1328-4CE2-9C53-14EA4FE35318}" type="presOf" srcId="{7F0E5C44-F38F-4F59-B87E-A00E01F36002}" destId="{20B3E8DE-E296-4B0B-9297-3AD755DECFA4}" srcOrd="0" destOrd="0" presId="urn:microsoft.com/office/officeart/2008/layout/VerticalCurvedList"/>
    <dgm:cxn modelId="{CF93B2A2-27C7-4765-8F03-9A99F118076A}" type="presOf" srcId="{34E8E9D6-BAF0-4F3E-9BE8-2E41F1C3C941}" destId="{A2DEE40E-0B66-4B91-8AC9-45EB49F811C8}" srcOrd="0" destOrd="0" presId="urn:microsoft.com/office/officeart/2008/layout/VerticalCurvedList"/>
    <dgm:cxn modelId="{8EECACAD-03C9-491D-A160-8F972D6D6D76}" srcId="{7F0E5C44-F38F-4F59-B87E-A00E01F36002}" destId="{3C1296A7-9188-4B78-A328-583A924CCB21}" srcOrd="1" destOrd="0" parTransId="{E9625C25-4F80-42C4-A58C-69E8B91CCA74}" sibTransId="{1A77C360-9A15-47CC-BBB6-9ACFEE281871}"/>
    <dgm:cxn modelId="{F64B5EB8-AAAC-42F9-8709-3FF1CA9EAB53}" srcId="{7F0E5C44-F38F-4F59-B87E-A00E01F36002}" destId="{EB1FC145-5BBC-4265-9B29-CA95422C215D}" srcOrd="4" destOrd="0" parTransId="{422A40DA-B3BE-40D4-AB81-97BCF189585C}" sibTransId="{8234318C-C8D0-43C8-95D9-8FD70BF89FFE}"/>
    <dgm:cxn modelId="{B305D6C2-3B35-4990-8A63-A914DE5A233A}" type="presOf" srcId="{EB1FC145-5BBC-4265-9B29-CA95422C215D}" destId="{58FEAA6C-DB72-45AF-AFC6-8A92C0E48BA9}" srcOrd="0" destOrd="0" presId="urn:microsoft.com/office/officeart/2008/layout/VerticalCurvedList"/>
    <dgm:cxn modelId="{91542ED1-0763-44E5-A87B-A5C32C626710}" type="presOf" srcId="{92FD1954-47D4-4199-BE12-C32DC766FBBC}" destId="{C8FF8C33-490B-4C97-A7CE-387A32588968}" srcOrd="0" destOrd="0" presId="urn:microsoft.com/office/officeart/2008/layout/VerticalCurvedList"/>
    <dgm:cxn modelId="{751AAD9F-51D0-439B-97AC-51CB858E67F4}" type="presParOf" srcId="{20B3E8DE-E296-4B0B-9297-3AD755DECFA4}" destId="{24C282F9-CC65-4ECF-B3E9-94A85C0AF7AC}" srcOrd="0" destOrd="0" presId="urn:microsoft.com/office/officeart/2008/layout/VerticalCurvedList"/>
    <dgm:cxn modelId="{4D85FBCD-5572-4548-A49E-16AC55EF6030}" type="presParOf" srcId="{24C282F9-CC65-4ECF-B3E9-94A85C0AF7AC}" destId="{E0BB4683-76B2-4A56-B37C-3465F67B753D}" srcOrd="0" destOrd="0" presId="urn:microsoft.com/office/officeart/2008/layout/VerticalCurvedList"/>
    <dgm:cxn modelId="{178B89F2-F109-4E8B-A0E6-44AA03DF3712}" type="presParOf" srcId="{E0BB4683-76B2-4A56-B37C-3465F67B753D}" destId="{1604BA2B-9262-4FB9-BC42-0CFDF7DCDF42}" srcOrd="0" destOrd="0" presId="urn:microsoft.com/office/officeart/2008/layout/VerticalCurvedList"/>
    <dgm:cxn modelId="{E106103F-B5A2-4456-B2F1-17EC5089BC7D}" type="presParOf" srcId="{E0BB4683-76B2-4A56-B37C-3465F67B753D}" destId="{A2DEE40E-0B66-4B91-8AC9-45EB49F811C8}" srcOrd="1" destOrd="0" presId="urn:microsoft.com/office/officeart/2008/layout/VerticalCurvedList"/>
    <dgm:cxn modelId="{51E01283-F302-489F-B82B-E5D6CCA38DAA}" type="presParOf" srcId="{E0BB4683-76B2-4A56-B37C-3465F67B753D}" destId="{EF74BBB2-5EF5-4416-845A-8434ECD2FC8B}" srcOrd="2" destOrd="0" presId="urn:microsoft.com/office/officeart/2008/layout/VerticalCurvedList"/>
    <dgm:cxn modelId="{3468C60A-C7A2-4433-BF86-1E71446CA378}" type="presParOf" srcId="{E0BB4683-76B2-4A56-B37C-3465F67B753D}" destId="{080232DF-F1AE-40A2-9FD4-410B9E4F6996}" srcOrd="3" destOrd="0" presId="urn:microsoft.com/office/officeart/2008/layout/VerticalCurvedList"/>
    <dgm:cxn modelId="{CE939B55-0C30-4C47-AD8C-32DE85C76C9B}" type="presParOf" srcId="{24C282F9-CC65-4ECF-B3E9-94A85C0AF7AC}" destId="{3A2BAD60-1173-4F05-AA2D-A6CC7480963C}" srcOrd="1" destOrd="0" presId="urn:microsoft.com/office/officeart/2008/layout/VerticalCurvedList"/>
    <dgm:cxn modelId="{0FE64BBA-236B-4CE2-BA57-07E2DA45A2C0}" type="presParOf" srcId="{24C282F9-CC65-4ECF-B3E9-94A85C0AF7AC}" destId="{81A215F9-B995-4D96-8151-666DA7537286}" srcOrd="2" destOrd="0" presId="urn:microsoft.com/office/officeart/2008/layout/VerticalCurvedList"/>
    <dgm:cxn modelId="{6D592AE5-7848-4959-B016-882A5F5F042B}" type="presParOf" srcId="{81A215F9-B995-4D96-8151-666DA7537286}" destId="{876AAFB9-EF87-4539-844B-B2D7225647F2}" srcOrd="0" destOrd="0" presId="urn:microsoft.com/office/officeart/2008/layout/VerticalCurvedList"/>
    <dgm:cxn modelId="{A34FCA6F-B32F-4E0F-A217-18E07A502FDB}" type="presParOf" srcId="{24C282F9-CC65-4ECF-B3E9-94A85C0AF7AC}" destId="{CF5F2520-3AE5-48FE-83A2-B7A2DC9DE4F7}" srcOrd="3" destOrd="0" presId="urn:microsoft.com/office/officeart/2008/layout/VerticalCurvedList"/>
    <dgm:cxn modelId="{4A67E4D5-09C9-4158-81D4-94E78AE8472E}" type="presParOf" srcId="{24C282F9-CC65-4ECF-B3E9-94A85C0AF7AC}" destId="{F6F5E520-4E95-458B-AEA5-52E366A7EE9B}" srcOrd="4" destOrd="0" presId="urn:microsoft.com/office/officeart/2008/layout/VerticalCurvedList"/>
    <dgm:cxn modelId="{0B813687-05C6-4E79-8D85-C12E23E90721}" type="presParOf" srcId="{F6F5E520-4E95-458B-AEA5-52E366A7EE9B}" destId="{59FBA889-EC7D-49F7-81C3-DD02DF163D89}" srcOrd="0" destOrd="0" presId="urn:microsoft.com/office/officeart/2008/layout/VerticalCurvedList"/>
    <dgm:cxn modelId="{341C61B9-6247-48D7-AC02-35CA08593910}" type="presParOf" srcId="{24C282F9-CC65-4ECF-B3E9-94A85C0AF7AC}" destId="{579C7A50-ED65-4DE6-8470-826950675538}" srcOrd="5" destOrd="0" presId="urn:microsoft.com/office/officeart/2008/layout/VerticalCurvedList"/>
    <dgm:cxn modelId="{BCFE0D51-10B8-46E5-B6A7-563F235696FB}" type="presParOf" srcId="{24C282F9-CC65-4ECF-B3E9-94A85C0AF7AC}" destId="{672E8BA6-20EF-4C5C-8394-DDFB1AFE43C4}" srcOrd="6" destOrd="0" presId="urn:microsoft.com/office/officeart/2008/layout/VerticalCurvedList"/>
    <dgm:cxn modelId="{6D2AA6E2-1B25-4530-9522-CC607998B3CB}" type="presParOf" srcId="{672E8BA6-20EF-4C5C-8394-DDFB1AFE43C4}" destId="{D599E7E5-A18A-42A5-B314-741DB9C98AA9}" srcOrd="0" destOrd="0" presId="urn:microsoft.com/office/officeart/2008/layout/VerticalCurvedList"/>
    <dgm:cxn modelId="{BDFAA66D-DA03-469B-976B-7EC290EC1A40}" type="presParOf" srcId="{24C282F9-CC65-4ECF-B3E9-94A85C0AF7AC}" destId="{928AA374-93C9-4169-97FD-5568BC2B1632}" srcOrd="7" destOrd="0" presId="urn:microsoft.com/office/officeart/2008/layout/VerticalCurvedList"/>
    <dgm:cxn modelId="{F95874D8-B624-4496-9F29-88ABD5D4F472}" type="presParOf" srcId="{24C282F9-CC65-4ECF-B3E9-94A85C0AF7AC}" destId="{C9515D4F-19A7-47C8-96F8-285A35516CAB}" srcOrd="8" destOrd="0" presId="urn:microsoft.com/office/officeart/2008/layout/VerticalCurvedList"/>
    <dgm:cxn modelId="{B9F10C9B-3E28-45FE-B3CE-48C0813B7522}" type="presParOf" srcId="{C9515D4F-19A7-47C8-96F8-285A35516CAB}" destId="{A206F9EC-E999-474B-8457-891B57BE68F9}" srcOrd="0" destOrd="0" presId="urn:microsoft.com/office/officeart/2008/layout/VerticalCurvedList"/>
    <dgm:cxn modelId="{7E44D9A5-BA37-410E-AD0F-A2DE059150B9}" type="presParOf" srcId="{24C282F9-CC65-4ECF-B3E9-94A85C0AF7AC}" destId="{58FEAA6C-DB72-45AF-AFC6-8A92C0E48BA9}" srcOrd="9" destOrd="0" presId="urn:microsoft.com/office/officeart/2008/layout/VerticalCurvedList"/>
    <dgm:cxn modelId="{3C0AF97E-FE12-41C5-89F4-78A1B3D821C9}" type="presParOf" srcId="{24C282F9-CC65-4ECF-B3E9-94A85C0AF7AC}" destId="{B67115D2-3B92-4FD7-8BDF-76A570D436A3}" srcOrd="10" destOrd="0" presId="urn:microsoft.com/office/officeart/2008/layout/VerticalCurvedList"/>
    <dgm:cxn modelId="{A127AB02-F4F8-4229-9B88-017961E90042}" type="presParOf" srcId="{B67115D2-3B92-4FD7-8BDF-76A570D436A3}" destId="{68DAF0FC-73DA-45D5-BE76-B3681D455142}" srcOrd="0" destOrd="0" presId="urn:microsoft.com/office/officeart/2008/layout/VerticalCurvedList"/>
    <dgm:cxn modelId="{E92CB3D1-F33C-4F46-AAC4-72B962129A87}" type="presParOf" srcId="{24C282F9-CC65-4ECF-B3E9-94A85C0AF7AC}" destId="{C8FF8C33-490B-4C97-A7CE-387A32588968}" srcOrd="11" destOrd="0" presId="urn:microsoft.com/office/officeart/2008/layout/VerticalCurvedList"/>
    <dgm:cxn modelId="{1893B71F-84B8-4D2A-AB27-D303B0CF8468}" type="presParOf" srcId="{24C282F9-CC65-4ECF-B3E9-94A85C0AF7AC}" destId="{A553E504-C125-4DC6-807A-B2DCBB1E07A9}" srcOrd="12" destOrd="0" presId="urn:microsoft.com/office/officeart/2008/layout/VerticalCurvedList"/>
    <dgm:cxn modelId="{3055F707-70B5-4BBE-9568-16A586C66744}" type="presParOf" srcId="{A553E504-C125-4DC6-807A-B2DCBB1E07A9}" destId="{FF2D00FB-4CE6-46D9-BC8B-27E461766B9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7F0E5C44-F38F-4F59-B87E-A00E01F36002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10" csCatId="colorful" phldr="1"/>
      <dgm:spPr/>
      <dgm:t>
        <a:bodyPr/>
        <a:lstStyle/>
        <a:p>
          <a:endParaRPr lang="en-US"/>
        </a:p>
      </dgm:t>
    </dgm:pt>
    <dgm:pt modelId="{9F55D7CF-8097-4194-8244-B89F07303527}">
      <dgm:prSet/>
      <dgm:spPr/>
      <dgm:t>
        <a:bodyPr/>
        <a:lstStyle/>
        <a:p>
          <a:pPr rtl="0"/>
          <a:r>
            <a:rPr lang="en-US" b="0" noProof="0"/>
            <a:t>Swing library with Java </a:t>
          </a:r>
          <a:endParaRPr lang="en-US" noProof="0"/>
        </a:p>
      </dgm:t>
    </dgm:pt>
    <dgm:pt modelId="{71B80231-6085-4C15-B487-3B1A2767A074}" type="parTrans" cxnId="{B51C1A01-DB8E-4309-84FA-007EBB17BAF6}">
      <dgm:prSet/>
      <dgm:spPr/>
      <dgm:t>
        <a:bodyPr/>
        <a:lstStyle/>
        <a:p>
          <a:endParaRPr lang="en-US"/>
        </a:p>
      </dgm:t>
    </dgm:pt>
    <dgm:pt modelId="{34E8E9D6-BAF0-4F3E-9BE8-2E41F1C3C941}" type="sibTrans" cxnId="{B51C1A01-DB8E-4309-84FA-007EBB17BAF6}">
      <dgm:prSet/>
      <dgm:spPr/>
      <dgm:t>
        <a:bodyPr/>
        <a:lstStyle/>
        <a:p>
          <a:endParaRPr lang="en-US"/>
        </a:p>
      </dgm:t>
    </dgm:pt>
    <dgm:pt modelId="{3C1296A7-9188-4B78-A328-583A924CCB21}">
      <dgm:prSet/>
      <dgm:spPr/>
      <dgm:t>
        <a:bodyPr/>
        <a:lstStyle/>
        <a:p>
          <a:pPr rtl="0"/>
          <a:r>
            <a:rPr lang="en-US" b="0" noProof="0" dirty="0"/>
            <a:t>Page Object Model architecture</a:t>
          </a:r>
          <a:endParaRPr lang="en-US" noProof="0" dirty="0"/>
        </a:p>
      </dgm:t>
    </dgm:pt>
    <dgm:pt modelId="{E9625C25-4F80-42C4-A58C-69E8B91CCA74}" type="parTrans" cxnId="{8EECACAD-03C9-491D-A160-8F972D6D6D76}">
      <dgm:prSet/>
      <dgm:spPr/>
      <dgm:t>
        <a:bodyPr/>
        <a:lstStyle/>
        <a:p>
          <a:endParaRPr lang="en-US"/>
        </a:p>
      </dgm:t>
    </dgm:pt>
    <dgm:pt modelId="{1A77C360-9A15-47CC-BBB6-9ACFEE281871}" type="sibTrans" cxnId="{8EECACAD-03C9-491D-A160-8F972D6D6D76}">
      <dgm:prSet/>
      <dgm:spPr/>
      <dgm:t>
        <a:bodyPr/>
        <a:lstStyle/>
        <a:p>
          <a:endParaRPr lang="en-US"/>
        </a:p>
      </dgm:t>
    </dgm:pt>
    <dgm:pt modelId="{20B3E8DE-E296-4B0B-9297-3AD755DECFA4}" type="pres">
      <dgm:prSet presAssocID="{7F0E5C44-F38F-4F59-B87E-A00E01F36002}" presName="Name0" presStyleCnt="0">
        <dgm:presLayoutVars>
          <dgm:chMax val="7"/>
          <dgm:chPref val="7"/>
          <dgm:dir/>
        </dgm:presLayoutVars>
      </dgm:prSet>
      <dgm:spPr/>
    </dgm:pt>
    <dgm:pt modelId="{24C282F9-CC65-4ECF-B3E9-94A85C0AF7AC}" type="pres">
      <dgm:prSet presAssocID="{7F0E5C44-F38F-4F59-B87E-A00E01F36002}" presName="Name1" presStyleCnt="0"/>
      <dgm:spPr/>
    </dgm:pt>
    <dgm:pt modelId="{E0BB4683-76B2-4A56-B37C-3465F67B753D}" type="pres">
      <dgm:prSet presAssocID="{7F0E5C44-F38F-4F59-B87E-A00E01F36002}" presName="cycle" presStyleCnt="0"/>
      <dgm:spPr/>
    </dgm:pt>
    <dgm:pt modelId="{1604BA2B-9262-4FB9-BC42-0CFDF7DCDF42}" type="pres">
      <dgm:prSet presAssocID="{7F0E5C44-F38F-4F59-B87E-A00E01F36002}" presName="srcNode" presStyleLbl="node1" presStyleIdx="0" presStyleCnt="2"/>
      <dgm:spPr/>
    </dgm:pt>
    <dgm:pt modelId="{A2DEE40E-0B66-4B91-8AC9-45EB49F811C8}" type="pres">
      <dgm:prSet presAssocID="{7F0E5C44-F38F-4F59-B87E-A00E01F36002}" presName="conn" presStyleLbl="parChTrans1D2" presStyleIdx="0" presStyleCnt="1"/>
      <dgm:spPr/>
    </dgm:pt>
    <dgm:pt modelId="{EF74BBB2-5EF5-4416-845A-8434ECD2FC8B}" type="pres">
      <dgm:prSet presAssocID="{7F0E5C44-F38F-4F59-B87E-A00E01F36002}" presName="extraNode" presStyleLbl="node1" presStyleIdx="0" presStyleCnt="2"/>
      <dgm:spPr/>
    </dgm:pt>
    <dgm:pt modelId="{080232DF-F1AE-40A2-9FD4-410B9E4F6996}" type="pres">
      <dgm:prSet presAssocID="{7F0E5C44-F38F-4F59-B87E-A00E01F36002}" presName="dstNode" presStyleLbl="node1" presStyleIdx="0" presStyleCnt="2"/>
      <dgm:spPr/>
    </dgm:pt>
    <dgm:pt modelId="{3A2BAD60-1173-4F05-AA2D-A6CC7480963C}" type="pres">
      <dgm:prSet presAssocID="{9F55D7CF-8097-4194-8244-B89F07303527}" presName="text_1" presStyleLbl="node1" presStyleIdx="0" presStyleCnt="2">
        <dgm:presLayoutVars>
          <dgm:bulletEnabled val="1"/>
        </dgm:presLayoutVars>
      </dgm:prSet>
      <dgm:spPr/>
    </dgm:pt>
    <dgm:pt modelId="{81A215F9-B995-4D96-8151-666DA7537286}" type="pres">
      <dgm:prSet presAssocID="{9F55D7CF-8097-4194-8244-B89F07303527}" presName="accent_1" presStyleCnt="0"/>
      <dgm:spPr/>
    </dgm:pt>
    <dgm:pt modelId="{876AAFB9-EF87-4539-844B-B2D7225647F2}" type="pres">
      <dgm:prSet presAssocID="{9F55D7CF-8097-4194-8244-B89F07303527}" presName="accentRepeatNode" presStyleLbl="solidFgAcc1" presStyleIdx="0" presStyleCnt="2"/>
      <dgm:spPr/>
    </dgm:pt>
    <dgm:pt modelId="{CF5F2520-3AE5-48FE-83A2-B7A2DC9DE4F7}" type="pres">
      <dgm:prSet presAssocID="{3C1296A7-9188-4B78-A328-583A924CCB21}" presName="text_2" presStyleLbl="node1" presStyleIdx="1" presStyleCnt="2">
        <dgm:presLayoutVars>
          <dgm:bulletEnabled val="1"/>
        </dgm:presLayoutVars>
      </dgm:prSet>
      <dgm:spPr/>
    </dgm:pt>
    <dgm:pt modelId="{F6F5E520-4E95-458B-AEA5-52E366A7EE9B}" type="pres">
      <dgm:prSet presAssocID="{3C1296A7-9188-4B78-A328-583A924CCB21}" presName="accent_2" presStyleCnt="0"/>
      <dgm:spPr/>
    </dgm:pt>
    <dgm:pt modelId="{59FBA889-EC7D-49F7-81C3-DD02DF163D89}" type="pres">
      <dgm:prSet presAssocID="{3C1296A7-9188-4B78-A328-583A924CCB21}" presName="accentRepeatNode" presStyleLbl="solidFgAcc1" presStyleIdx="1" presStyleCnt="2"/>
      <dgm:spPr/>
    </dgm:pt>
  </dgm:ptLst>
  <dgm:cxnLst>
    <dgm:cxn modelId="{B51C1A01-DB8E-4309-84FA-007EBB17BAF6}" srcId="{7F0E5C44-F38F-4F59-B87E-A00E01F36002}" destId="{9F55D7CF-8097-4194-8244-B89F07303527}" srcOrd="0" destOrd="0" parTransId="{71B80231-6085-4C15-B487-3B1A2767A074}" sibTransId="{34E8E9D6-BAF0-4F3E-9BE8-2E41F1C3C941}"/>
    <dgm:cxn modelId="{1070200F-9CE5-417D-BA81-BD9EA0A05ECA}" type="presOf" srcId="{3C1296A7-9188-4B78-A328-583A924CCB21}" destId="{CF5F2520-3AE5-48FE-83A2-B7A2DC9DE4F7}" srcOrd="0" destOrd="0" presId="urn:microsoft.com/office/officeart/2008/layout/VerticalCurvedList"/>
    <dgm:cxn modelId="{39226971-6CD9-4326-9C7E-8A30EE311D0F}" type="presOf" srcId="{9F55D7CF-8097-4194-8244-B89F07303527}" destId="{3A2BAD60-1173-4F05-AA2D-A6CC7480963C}" srcOrd="0" destOrd="0" presId="urn:microsoft.com/office/officeart/2008/layout/VerticalCurvedList"/>
    <dgm:cxn modelId="{7FA91352-39EC-4939-806C-6E9C9ED0C07C}" type="presOf" srcId="{34E8E9D6-BAF0-4F3E-9BE8-2E41F1C3C941}" destId="{A2DEE40E-0B66-4B91-8AC9-45EB49F811C8}" srcOrd="0" destOrd="0" presId="urn:microsoft.com/office/officeart/2008/layout/VerticalCurvedList"/>
    <dgm:cxn modelId="{BC11AB93-6835-4E79-9E4F-D9F6B06FC24D}" type="presOf" srcId="{7F0E5C44-F38F-4F59-B87E-A00E01F36002}" destId="{20B3E8DE-E296-4B0B-9297-3AD755DECFA4}" srcOrd="0" destOrd="0" presId="urn:microsoft.com/office/officeart/2008/layout/VerticalCurvedList"/>
    <dgm:cxn modelId="{8EECACAD-03C9-491D-A160-8F972D6D6D76}" srcId="{7F0E5C44-F38F-4F59-B87E-A00E01F36002}" destId="{3C1296A7-9188-4B78-A328-583A924CCB21}" srcOrd="1" destOrd="0" parTransId="{E9625C25-4F80-42C4-A58C-69E8B91CCA74}" sibTransId="{1A77C360-9A15-47CC-BBB6-9ACFEE281871}"/>
    <dgm:cxn modelId="{1C7D94B5-D44E-4837-9DCF-2E1ADABB66CD}" type="presParOf" srcId="{20B3E8DE-E296-4B0B-9297-3AD755DECFA4}" destId="{24C282F9-CC65-4ECF-B3E9-94A85C0AF7AC}" srcOrd="0" destOrd="0" presId="urn:microsoft.com/office/officeart/2008/layout/VerticalCurvedList"/>
    <dgm:cxn modelId="{2498D17A-5179-4F91-99D0-09EAD6D17646}" type="presParOf" srcId="{24C282F9-CC65-4ECF-B3E9-94A85C0AF7AC}" destId="{E0BB4683-76B2-4A56-B37C-3465F67B753D}" srcOrd="0" destOrd="0" presId="urn:microsoft.com/office/officeart/2008/layout/VerticalCurvedList"/>
    <dgm:cxn modelId="{F3E97754-538B-46BF-A23A-9C523E24B6BC}" type="presParOf" srcId="{E0BB4683-76B2-4A56-B37C-3465F67B753D}" destId="{1604BA2B-9262-4FB9-BC42-0CFDF7DCDF42}" srcOrd="0" destOrd="0" presId="urn:microsoft.com/office/officeart/2008/layout/VerticalCurvedList"/>
    <dgm:cxn modelId="{BF905429-2BF5-49CB-ACF4-96278099C4C1}" type="presParOf" srcId="{E0BB4683-76B2-4A56-B37C-3465F67B753D}" destId="{A2DEE40E-0B66-4B91-8AC9-45EB49F811C8}" srcOrd="1" destOrd="0" presId="urn:microsoft.com/office/officeart/2008/layout/VerticalCurvedList"/>
    <dgm:cxn modelId="{CDD739B2-8460-472D-A0BE-4D52EF3A1B86}" type="presParOf" srcId="{E0BB4683-76B2-4A56-B37C-3465F67B753D}" destId="{EF74BBB2-5EF5-4416-845A-8434ECD2FC8B}" srcOrd="2" destOrd="0" presId="urn:microsoft.com/office/officeart/2008/layout/VerticalCurvedList"/>
    <dgm:cxn modelId="{B6B451DA-380B-4872-B74E-E8CC6C9AF974}" type="presParOf" srcId="{E0BB4683-76B2-4A56-B37C-3465F67B753D}" destId="{080232DF-F1AE-40A2-9FD4-410B9E4F6996}" srcOrd="3" destOrd="0" presId="urn:microsoft.com/office/officeart/2008/layout/VerticalCurvedList"/>
    <dgm:cxn modelId="{E6EEF122-F4AC-4B1D-A001-E3B2A217F03A}" type="presParOf" srcId="{24C282F9-CC65-4ECF-B3E9-94A85C0AF7AC}" destId="{3A2BAD60-1173-4F05-AA2D-A6CC7480963C}" srcOrd="1" destOrd="0" presId="urn:microsoft.com/office/officeart/2008/layout/VerticalCurvedList"/>
    <dgm:cxn modelId="{555EB43C-F4C0-47E2-BA83-2763492ABC37}" type="presParOf" srcId="{24C282F9-CC65-4ECF-B3E9-94A85C0AF7AC}" destId="{81A215F9-B995-4D96-8151-666DA7537286}" srcOrd="2" destOrd="0" presId="urn:microsoft.com/office/officeart/2008/layout/VerticalCurvedList"/>
    <dgm:cxn modelId="{6D58E6FF-6D28-480D-BD25-FF3061D30183}" type="presParOf" srcId="{81A215F9-B995-4D96-8151-666DA7537286}" destId="{876AAFB9-EF87-4539-844B-B2D7225647F2}" srcOrd="0" destOrd="0" presId="urn:microsoft.com/office/officeart/2008/layout/VerticalCurvedList"/>
    <dgm:cxn modelId="{58B8CE87-B981-49B1-B0B6-DE7122777E82}" type="presParOf" srcId="{24C282F9-CC65-4ECF-B3E9-94A85C0AF7AC}" destId="{CF5F2520-3AE5-48FE-83A2-B7A2DC9DE4F7}" srcOrd="3" destOrd="0" presId="urn:microsoft.com/office/officeart/2008/layout/VerticalCurvedList"/>
    <dgm:cxn modelId="{F1B65413-DBE1-45AB-808E-C1FE41FDB30E}" type="presParOf" srcId="{24C282F9-CC65-4ECF-B3E9-94A85C0AF7AC}" destId="{F6F5E520-4E95-458B-AEA5-52E366A7EE9B}" srcOrd="4" destOrd="0" presId="urn:microsoft.com/office/officeart/2008/layout/VerticalCurvedList"/>
    <dgm:cxn modelId="{6D816FA8-5037-4779-82B6-C3873DDC611C}" type="presParOf" srcId="{F6F5E520-4E95-458B-AEA5-52E366A7EE9B}" destId="{59FBA889-EC7D-49F7-81C3-DD02DF163D8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/>
      <dgm:t>
        <a:bodyPr/>
        <a:lstStyle/>
        <a:p>
          <a:br>
            <a:rPr lang="pl-PL" sz="2400"/>
          </a:br>
          <a:r>
            <a:rPr lang="en-US" sz="2400"/>
            <a:t>UI</a:t>
          </a:r>
          <a:endParaRPr lang="en-US" sz="2400" dirty="0"/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/>
      <dgm:t>
        <a:bodyPr/>
        <a:lstStyle/>
        <a:p>
          <a:r>
            <a:rPr lang="en-US" sz="24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/>
      <dgm:t>
        <a:bodyPr/>
        <a:lstStyle/>
        <a:p>
          <a:r>
            <a:rPr lang="en-US" sz="2400" dirty="0"/>
            <a:t>Unit</a:t>
          </a:r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DCB00E39-45B0-4E69-A085-E493DE4D6F10}" type="presOf" srcId="{F7E37FBC-8099-4DB3-B4F8-DBDE0DCEC1D7}" destId="{7008F9DC-B4CA-4C47-ACF8-16602824A142}" srcOrd="1" destOrd="0" presId="urn:microsoft.com/office/officeart/2005/8/layout/pyramid1"/>
    <dgm:cxn modelId="{62456561-0FA9-41F7-9BEA-AEBA51E9C230}" type="presOf" srcId="{40285531-BAEE-43E6-BBD4-8249575B1878}" destId="{D9074314-C21A-447C-9E4D-59C6F495C412}" srcOrd="0" destOrd="0" presId="urn:microsoft.com/office/officeart/2005/8/layout/pyramid1"/>
    <dgm:cxn modelId="{3F391467-94C9-4622-A241-B0B969CE31FF}" type="presOf" srcId="{6160D3D4-613A-4519-A481-F89ADD5F7320}" destId="{891CA3F0-A4E4-43F8-949C-180B2AB3BCFE}" srcOrd="0" destOrd="0" presId="urn:microsoft.com/office/officeart/2005/8/layout/pyramid1"/>
    <dgm:cxn modelId="{363C1752-9116-4B27-969F-967B869456AD}" type="presOf" srcId="{6ED7E280-935A-4740-AB58-C0FAE580BFA8}" destId="{B615F79F-706C-4309-9FFC-D94774F354E8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C041B9D-F412-402C-860A-111E54F17609}" type="presOf" srcId="{40285531-BAEE-43E6-BBD4-8249575B1878}" destId="{9A3F85C7-0AE1-424E-8646-B4248B01294E}" srcOrd="1" destOrd="0" presId="urn:microsoft.com/office/officeart/2005/8/layout/pyramid1"/>
    <dgm:cxn modelId="{BAC19E9F-F7AD-4900-8D3D-5266E169D150}" type="presOf" srcId="{F7E37FBC-8099-4DB3-B4F8-DBDE0DCEC1D7}" destId="{9BFA4AC6-E825-4477-B889-F9C66C1195B8}" srcOrd="0" destOrd="0" presId="urn:microsoft.com/office/officeart/2005/8/layout/pyramid1"/>
    <dgm:cxn modelId="{CCCE41B6-4F52-47A5-A87C-960CD08A4969}" type="presOf" srcId="{6ED7E280-935A-4740-AB58-C0FAE580BFA8}" destId="{3DF1A04F-9824-4FA2-8E9B-69197A34DB02}" srcOrd="0" destOrd="0" presId="urn:microsoft.com/office/officeart/2005/8/layout/pyramid1"/>
    <dgm:cxn modelId="{0C4C987D-11A8-4C22-93AE-593DF0447F31}" type="presParOf" srcId="{891CA3F0-A4E4-43F8-949C-180B2AB3BCFE}" destId="{24A053E9-ED32-40AA-8B2A-BD33F0C11AE2}" srcOrd="0" destOrd="0" presId="urn:microsoft.com/office/officeart/2005/8/layout/pyramid1"/>
    <dgm:cxn modelId="{7A5E5B50-5D9B-4BAB-90AB-82CBEF669AB9}" type="presParOf" srcId="{24A053E9-ED32-40AA-8B2A-BD33F0C11AE2}" destId="{9BFA4AC6-E825-4477-B889-F9C66C1195B8}" srcOrd="0" destOrd="0" presId="urn:microsoft.com/office/officeart/2005/8/layout/pyramid1"/>
    <dgm:cxn modelId="{0D7D8533-D865-46FC-B6CC-E767F836B98A}" type="presParOf" srcId="{24A053E9-ED32-40AA-8B2A-BD33F0C11AE2}" destId="{7008F9DC-B4CA-4C47-ACF8-16602824A142}" srcOrd="1" destOrd="0" presId="urn:microsoft.com/office/officeart/2005/8/layout/pyramid1"/>
    <dgm:cxn modelId="{5783AB46-6B68-4BA4-A0B5-F720AB39977D}" type="presParOf" srcId="{891CA3F0-A4E4-43F8-949C-180B2AB3BCFE}" destId="{141F8D72-3F15-4CC5-95F4-F3EA15242490}" srcOrd="1" destOrd="0" presId="urn:microsoft.com/office/officeart/2005/8/layout/pyramid1"/>
    <dgm:cxn modelId="{5CD84C0A-896C-4CBB-8802-2F5759ADDCC8}" type="presParOf" srcId="{141F8D72-3F15-4CC5-95F4-F3EA15242490}" destId="{3DF1A04F-9824-4FA2-8E9B-69197A34DB02}" srcOrd="0" destOrd="0" presId="urn:microsoft.com/office/officeart/2005/8/layout/pyramid1"/>
    <dgm:cxn modelId="{030E836D-82B4-42CE-8D10-8F1FEE50545B}" type="presParOf" srcId="{141F8D72-3F15-4CC5-95F4-F3EA15242490}" destId="{B615F79F-706C-4309-9FFC-D94774F354E8}" srcOrd="1" destOrd="0" presId="urn:microsoft.com/office/officeart/2005/8/layout/pyramid1"/>
    <dgm:cxn modelId="{F75B5DDF-D32A-4E8D-94BA-EFE3B67BD23B}" type="presParOf" srcId="{891CA3F0-A4E4-43F8-949C-180B2AB3BCFE}" destId="{6B315756-5F49-4E5C-B814-8281ACC31042}" srcOrd="2" destOrd="0" presId="urn:microsoft.com/office/officeart/2005/8/layout/pyramid1"/>
    <dgm:cxn modelId="{D2C7B38F-3E67-4606-AE00-ADB08E2AE826}" type="presParOf" srcId="{6B315756-5F49-4E5C-B814-8281ACC31042}" destId="{D9074314-C21A-447C-9E4D-59C6F495C412}" srcOrd="0" destOrd="0" presId="urn:microsoft.com/office/officeart/2005/8/layout/pyramid1"/>
    <dgm:cxn modelId="{61FED245-8276-44B2-9D47-0790CA08CEF0}" type="presParOf" srcId="{6B315756-5F49-4E5C-B814-8281ACC31042}" destId="{9A3F85C7-0AE1-424E-8646-B4248B01294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60E9A8CE-3672-466D-8017-B86ADCCAD7C6}" type="doc">
      <dgm:prSet loTypeId="urn:microsoft.com/office/officeart/2005/8/layout/matrix1" loCatId="matrix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990E2F29-8333-40BE-999D-F3E7B8B4B4FC}">
      <dgm:prSet phldrT="[Text]"/>
      <dgm:spPr/>
      <dgm:t>
        <a:bodyPr/>
        <a:lstStyle/>
        <a:p>
          <a:r>
            <a:rPr lang="pl-PL" dirty="0"/>
            <a:t>E2E test in </a:t>
          </a:r>
          <a:br>
            <a:rPr lang="pl-PL" dirty="0"/>
          </a:br>
          <a:r>
            <a:rPr lang="pl-PL" dirty="0"/>
            <a:t>one file</a:t>
          </a:r>
          <a:endParaRPr lang="en-US" dirty="0"/>
        </a:p>
      </dgm:t>
    </dgm:pt>
    <dgm:pt modelId="{44F7A50A-EC4F-4F09-B521-8BF5992842C7}" type="parTrans" cxnId="{53E57B2F-6094-4D79-A9DA-514430965C19}">
      <dgm:prSet/>
      <dgm:spPr/>
      <dgm:t>
        <a:bodyPr/>
        <a:lstStyle/>
        <a:p>
          <a:endParaRPr lang="en-US"/>
        </a:p>
      </dgm:t>
    </dgm:pt>
    <dgm:pt modelId="{83F7CF39-50B3-42CE-B715-9A826E6E0FC2}" type="sibTrans" cxnId="{53E57B2F-6094-4D79-A9DA-514430965C19}">
      <dgm:prSet/>
      <dgm:spPr/>
      <dgm:t>
        <a:bodyPr/>
        <a:lstStyle/>
        <a:p>
          <a:endParaRPr lang="en-US"/>
        </a:p>
      </dgm:t>
    </dgm:pt>
    <dgm:pt modelId="{40065E22-895C-4585-9AA4-44EA553CCF2A}">
      <dgm:prSet phldrT="[Text]"/>
      <dgm:spPr/>
      <dgm:t>
        <a:bodyPr/>
        <a:lstStyle/>
        <a:p>
          <a:r>
            <a:rPr lang="en-US" noProof="0" dirty="0"/>
            <a:t>Core functions  </a:t>
          </a:r>
          <a:br>
            <a:rPr lang="en-US" noProof="0" dirty="0"/>
          </a:br>
          <a:r>
            <a:rPr lang="en-US" noProof="0" dirty="0"/>
            <a:t>(Java</a:t>
          </a:r>
          <a:r>
            <a:rPr lang="pl-PL" noProof="0" dirty="0"/>
            <a:t>, </a:t>
          </a:r>
          <a:r>
            <a:rPr lang="en-US" noProof="0" dirty="0"/>
            <a:t>Cucumber)</a:t>
          </a:r>
        </a:p>
      </dgm:t>
    </dgm:pt>
    <dgm:pt modelId="{AA906743-CBE7-488F-88EB-8F66DCDC5767}" type="parTrans" cxnId="{D1E48F10-BC47-4663-ACF8-BCC8B27F2D4F}">
      <dgm:prSet/>
      <dgm:spPr/>
      <dgm:t>
        <a:bodyPr/>
        <a:lstStyle/>
        <a:p>
          <a:endParaRPr lang="en-US"/>
        </a:p>
      </dgm:t>
    </dgm:pt>
    <dgm:pt modelId="{354D7CB3-9BFA-4FFD-AB7B-C5B86E0F3D3C}" type="sibTrans" cxnId="{D1E48F10-BC47-4663-ACF8-BCC8B27F2D4F}">
      <dgm:prSet/>
      <dgm:spPr/>
      <dgm:t>
        <a:bodyPr/>
        <a:lstStyle/>
        <a:p>
          <a:endParaRPr lang="en-US"/>
        </a:p>
      </dgm:t>
    </dgm:pt>
    <dgm:pt modelId="{52AC40BC-B1B5-4D19-B3FC-71BE2FEBE665}">
      <dgm:prSet phldrT="[Text]"/>
      <dgm:spPr/>
      <dgm:t>
        <a:bodyPr/>
        <a:lstStyle/>
        <a:p>
          <a:r>
            <a:rPr lang="pl-PL" dirty="0"/>
            <a:t>UI </a:t>
          </a:r>
          <a:r>
            <a:rPr lang="en-US" noProof="0" dirty="0"/>
            <a:t>module</a:t>
          </a:r>
          <a:br>
            <a:rPr lang="en-US" noProof="0" dirty="0"/>
          </a:br>
          <a:r>
            <a:rPr lang="en-US" noProof="0" dirty="0"/>
            <a:t>(Selenium)</a:t>
          </a:r>
        </a:p>
      </dgm:t>
    </dgm:pt>
    <dgm:pt modelId="{3CC6E199-9A51-4E42-A27F-5F90E8A5FA86}" type="parTrans" cxnId="{7D77F129-3F82-478B-8471-57F1614F3A56}">
      <dgm:prSet/>
      <dgm:spPr/>
      <dgm:t>
        <a:bodyPr/>
        <a:lstStyle/>
        <a:p>
          <a:endParaRPr lang="en-US"/>
        </a:p>
      </dgm:t>
    </dgm:pt>
    <dgm:pt modelId="{A1C0CD16-C94C-41E2-925E-E1B4305C07F1}" type="sibTrans" cxnId="{7D77F129-3F82-478B-8471-57F1614F3A56}">
      <dgm:prSet/>
      <dgm:spPr/>
      <dgm:t>
        <a:bodyPr/>
        <a:lstStyle/>
        <a:p>
          <a:endParaRPr lang="en-US"/>
        </a:p>
      </dgm:t>
    </dgm:pt>
    <dgm:pt modelId="{BF852B65-2A5D-485E-B184-15DA72C96801}">
      <dgm:prSet phldrT="[Text]"/>
      <dgm:spPr/>
      <dgm:t>
        <a:bodyPr/>
        <a:lstStyle/>
        <a:p>
          <a:r>
            <a:rPr lang="en-US" noProof="0" dirty="0" err="1"/>
            <a:t>WebService</a:t>
          </a:r>
          <a:r>
            <a:rPr lang="en-US" noProof="0" dirty="0"/>
            <a:t> module</a:t>
          </a:r>
          <a:br>
            <a:rPr lang="pl-PL" dirty="0"/>
          </a:br>
          <a:r>
            <a:rPr lang="pl-PL" dirty="0"/>
            <a:t>(REST, SOAP)</a:t>
          </a:r>
          <a:endParaRPr lang="en-US" dirty="0"/>
        </a:p>
      </dgm:t>
    </dgm:pt>
    <dgm:pt modelId="{5328FA42-7710-4EE2-B600-612DBFF168A1}" type="parTrans" cxnId="{187F2D5A-95B8-46A8-8E09-3B00EAC92621}">
      <dgm:prSet/>
      <dgm:spPr/>
      <dgm:t>
        <a:bodyPr/>
        <a:lstStyle/>
        <a:p>
          <a:endParaRPr lang="en-US"/>
        </a:p>
      </dgm:t>
    </dgm:pt>
    <dgm:pt modelId="{0F8540B4-FEF8-4CBD-AE64-A5559E918238}" type="sibTrans" cxnId="{187F2D5A-95B8-46A8-8E09-3B00EAC92621}">
      <dgm:prSet/>
      <dgm:spPr/>
      <dgm:t>
        <a:bodyPr/>
        <a:lstStyle/>
        <a:p>
          <a:endParaRPr lang="en-US"/>
        </a:p>
      </dgm:t>
    </dgm:pt>
    <dgm:pt modelId="{D423C0A7-C037-4C0B-827D-C881C1D4CBDB}">
      <dgm:prSet phldrT="[Text]"/>
      <dgm:spPr/>
      <dgm:t>
        <a:bodyPr/>
        <a:lstStyle/>
        <a:p>
          <a:r>
            <a:rPr lang="en-US" noProof="0" dirty="0" err="1"/>
            <a:t>DataBase</a:t>
          </a:r>
          <a:r>
            <a:rPr lang="en-US" noProof="0" dirty="0"/>
            <a:t> module</a:t>
          </a:r>
          <a:br>
            <a:rPr lang="en-US" noProof="0" dirty="0"/>
          </a:br>
          <a:r>
            <a:rPr lang="en-US" noProof="0" dirty="0"/>
            <a:t>(Oracle, Cassandra</a:t>
          </a:r>
          <a:r>
            <a:rPr lang="pl-PL" dirty="0"/>
            <a:t>)</a:t>
          </a:r>
          <a:endParaRPr lang="en-US" dirty="0"/>
        </a:p>
      </dgm:t>
    </dgm:pt>
    <dgm:pt modelId="{A2048480-6E88-4CA6-9E68-D278006BD8CF}" type="parTrans" cxnId="{A18A9621-B6C2-487D-A2F8-F8B962F110A9}">
      <dgm:prSet/>
      <dgm:spPr/>
      <dgm:t>
        <a:bodyPr/>
        <a:lstStyle/>
        <a:p>
          <a:endParaRPr lang="en-US"/>
        </a:p>
      </dgm:t>
    </dgm:pt>
    <dgm:pt modelId="{0EBE7C54-2E6F-438D-BE78-2AABDC10008C}" type="sibTrans" cxnId="{A18A9621-B6C2-487D-A2F8-F8B962F110A9}">
      <dgm:prSet/>
      <dgm:spPr/>
      <dgm:t>
        <a:bodyPr/>
        <a:lstStyle/>
        <a:p>
          <a:endParaRPr lang="en-US"/>
        </a:p>
      </dgm:t>
    </dgm:pt>
    <dgm:pt modelId="{E61B37B7-C941-41C8-B46C-52666FC1C4F8}" type="pres">
      <dgm:prSet presAssocID="{60E9A8CE-3672-466D-8017-B86ADCCAD7C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0A2761D-3565-436A-8593-E706355FCE55}" type="pres">
      <dgm:prSet presAssocID="{60E9A8CE-3672-466D-8017-B86ADCCAD7C6}" presName="matrix" presStyleCnt="0"/>
      <dgm:spPr/>
    </dgm:pt>
    <dgm:pt modelId="{3E3B53CC-63F9-486E-B296-6E00E1199ECB}" type="pres">
      <dgm:prSet presAssocID="{60E9A8CE-3672-466D-8017-B86ADCCAD7C6}" presName="tile1" presStyleLbl="node1" presStyleIdx="0" presStyleCnt="4"/>
      <dgm:spPr/>
    </dgm:pt>
    <dgm:pt modelId="{7A7E103B-B5B2-481B-8CE7-5C8D719A2205}" type="pres">
      <dgm:prSet presAssocID="{60E9A8CE-3672-466D-8017-B86ADCCAD7C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0229584-9C34-4778-B8AA-1AA196E63414}" type="pres">
      <dgm:prSet presAssocID="{60E9A8CE-3672-466D-8017-B86ADCCAD7C6}" presName="tile2" presStyleLbl="node1" presStyleIdx="1" presStyleCnt="4"/>
      <dgm:spPr/>
    </dgm:pt>
    <dgm:pt modelId="{28F8378A-4E8F-437D-805A-233D26F6CC90}" type="pres">
      <dgm:prSet presAssocID="{60E9A8CE-3672-466D-8017-B86ADCCAD7C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374D5145-E2A1-4964-AF5F-50EBD090420C}" type="pres">
      <dgm:prSet presAssocID="{60E9A8CE-3672-466D-8017-B86ADCCAD7C6}" presName="tile3" presStyleLbl="node1" presStyleIdx="2" presStyleCnt="4"/>
      <dgm:spPr/>
    </dgm:pt>
    <dgm:pt modelId="{A554ECCF-078E-4C1A-B5EA-60B059539F64}" type="pres">
      <dgm:prSet presAssocID="{60E9A8CE-3672-466D-8017-B86ADCCAD7C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269400-037F-4E4D-8615-9F6ADD40C530}" type="pres">
      <dgm:prSet presAssocID="{60E9A8CE-3672-466D-8017-B86ADCCAD7C6}" presName="tile4" presStyleLbl="node1" presStyleIdx="3" presStyleCnt="4"/>
      <dgm:spPr/>
    </dgm:pt>
    <dgm:pt modelId="{94B35573-9737-4B63-B540-F417DE6061EB}" type="pres">
      <dgm:prSet presAssocID="{60E9A8CE-3672-466D-8017-B86ADCCAD7C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2E174289-C717-4B8B-BD2D-0BA70D09B636}" type="pres">
      <dgm:prSet presAssocID="{60E9A8CE-3672-466D-8017-B86ADCCAD7C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01114809-964C-4517-AD76-63D03014C240}" type="presOf" srcId="{BF852B65-2A5D-485E-B184-15DA72C96801}" destId="{A554ECCF-078E-4C1A-B5EA-60B059539F64}" srcOrd="1" destOrd="0" presId="urn:microsoft.com/office/officeart/2005/8/layout/matrix1"/>
    <dgm:cxn modelId="{D1E48F10-BC47-4663-ACF8-BCC8B27F2D4F}" srcId="{990E2F29-8333-40BE-999D-F3E7B8B4B4FC}" destId="{40065E22-895C-4585-9AA4-44EA553CCF2A}" srcOrd="0" destOrd="0" parTransId="{AA906743-CBE7-488F-88EB-8F66DCDC5767}" sibTransId="{354D7CB3-9BFA-4FFD-AB7B-C5B86E0F3D3C}"/>
    <dgm:cxn modelId="{10984013-C441-4B06-9EC2-EDEC3908CF37}" type="presOf" srcId="{BF852B65-2A5D-485E-B184-15DA72C96801}" destId="{374D5145-E2A1-4964-AF5F-50EBD090420C}" srcOrd="0" destOrd="0" presId="urn:microsoft.com/office/officeart/2005/8/layout/matrix1"/>
    <dgm:cxn modelId="{F886BE1A-3204-4AC6-AAA2-CA8A39353477}" type="presOf" srcId="{D423C0A7-C037-4C0B-827D-C881C1D4CBDB}" destId="{94B35573-9737-4B63-B540-F417DE6061EB}" srcOrd="1" destOrd="0" presId="urn:microsoft.com/office/officeart/2005/8/layout/matrix1"/>
    <dgm:cxn modelId="{A18A9621-B6C2-487D-A2F8-F8B962F110A9}" srcId="{990E2F29-8333-40BE-999D-F3E7B8B4B4FC}" destId="{D423C0A7-C037-4C0B-827D-C881C1D4CBDB}" srcOrd="3" destOrd="0" parTransId="{A2048480-6E88-4CA6-9E68-D278006BD8CF}" sibTransId="{0EBE7C54-2E6F-438D-BE78-2AABDC10008C}"/>
    <dgm:cxn modelId="{4DEAAD21-A7E4-46E1-B66D-A5E45CD81338}" type="presOf" srcId="{40065E22-895C-4585-9AA4-44EA553CCF2A}" destId="{7A7E103B-B5B2-481B-8CE7-5C8D719A2205}" srcOrd="1" destOrd="0" presId="urn:microsoft.com/office/officeart/2005/8/layout/matrix1"/>
    <dgm:cxn modelId="{7D77F129-3F82-478B-8471-57F1614F3A56}" srcId="{990E2F29-8333-40BE-999D-F3E7B8B4B4FC}" destId="{52AC40BC-B1B5-4D19-B3FC-71BE2FEBE665}" srcOrd="1" destOrd="0" parTransId="{3CC6E199-9A51-4E42-A27F-5F90E8A5FA86}" sibTransId="{A1C0CD16-C94C-41E2-925E-E1B4305C07F1}"/>
    <dgm:cxn modelId="{53E57B2F-6094-4D79-A9DA-514430965C19}" srcId="{60E9A8CE-3672-466D-8017-B86ADCCAD7C6}" destId="{990E2F29-8333-40BE-999D-F3E7B8B4B4FC}" srcOrd="0" destOrd="0" parTransId="{44F7A50A-EC4F-4F09-B521-8BF5992842C7}" sibTransId="{83F7CF39-50B3-42CE-B715-9A826E6E0FC2}"/>
    <dgm:cxn modelId="{BA7DED4C-266B-4DE6-BF11-D2FA1AF0E988}" type="presOf" srcId="{990E2F29-8333-40BE-999D-F3E7B8B4B4FC}" destId="{2E174289-C717-4B8B-BD2D-0BA70D09B636}" srcOrd="0" destOrd="0" presId="urn:microsoft.com/office/officeart/2005/8/layout/matrix1"/>
    <dgm:cxn modelId="{8340F56D-E73F-4E6F-8302-7514C5E9C9DE}" type="presOf" srcId="{60E9A8CE-3672-466D-8017-B86ADCCAD7C6}" destId="{E61B37B7-C941-41C8-B46C-52666FC1C4F8}" srcOrd="0" destOrd="0" presId="urn:microsoft.com/office/officeart/2005/8/layout/matrix1"/>
    <dgm:cxn modelId="{187F2D5A-95B8-46A8-8E09-3B00EAC92621}" srcId="{990E2F29-8333-40BE-999D-F3E7B8B4B4FC}" destId="{BF852B65-2A5D-485E-B184-15DA72C96801}" srcOrd="2" destOrd="0" parTransId="{5328FA42-7710-4EE2-B600-612DBFF168A1}" sibTransId="{0F8540B4-FEF8-4CBD-AE64-A5559E918238}"/>
    <dgm:cxn modelId="{C45EB092-D3A5-469A-85ED-2AC1D2896AEC}" type="presOf" srcId="{40065E22-895C-4585-9AA4-44EA553CCF2A}" destId="{3E3B53CC-63F9-486E-B296-6E00E1199ECB}" srcOrd="0" destOrd="0" presId="urn:microsoft.com/office/officeart/2005/8/layout/matrix1"/>
    <dgm:cxn modelId="{AEE786A8-7EDE-4A82-9667-9AFD1D91E2F7}" type="presOf" srcId="{52AC40BC-B1B5-4D19-B3FC-71BE2FEBE665}" destId="{D0229584-9C34-4778-B8AA-1AA196E63414}" srcOrd="0" destOrd="0" presId="urn:microsoft.com/office/officeart/2005/8/layout/matrix1"/>
    <dgm:cxn modelId="{2786FDC4-CB42-4350-B8A3-A7CD20C56C33}" type="presOf" srcId="{52AC40BC-B1B5-4D19-B3FC-71BE2FEBE665}" destId="{28F8378A-4E8F-437D-805A-233D26F6CC90}" srcOrd="1" destOrd="0" presId="urn:microsoft.com/office/officeart/2005/8/layout/matrix1"/>
    <dgm:cxn modelId="{5C1572F0-361D-407D-863B-88EB0097FA02}" type="presOf" srcId="{D423C0A7-C037-4C0B-827D-C881C1D4CBDB}" destId="{73269400-037F-4E4D-8615-9F6ADD40C530}" srcOrd="0" destOrd="0" presId="urn:microsoft.com/office/officeart/2005/8/layout/matrix1"/>
    <dgm:cxn modelId="{578C3281-58B5-455C-B209-74F1C0E7FA92}" type="presParOf" srcId="{E61B37B7-C941-41C8-B46C-52666FC1C4F8}" destId="{00A2761D-3565-436A-8593-E706355FCE55}" srcOrd="0" destOrd="0" presId="urn:microsoft.com/office/officeart/2005/8/layout/matrix1"/>
    <dgm:cxn modelId="{A5903AC9-FE36-43A4-AFB2-0F92037E7642}" type="presParOf" srcId="{00A2761D-3565-436A-8593-E706355FCE55}" destId="{3E3B53CC-63F9-486E-B296-6E00E1199ECB}" srcOrd="0" destOrd="0" presId="urn:microsoft.com/office/officeart/2005/8/layout/matrix1"/>
    <dgm:cxn modelId="{E73AA113-7398-4BBD-9D18-249D1D37531E}" type="presParOf" srcId="{00A2761D-3565-436A-8593-E706355FCE55}" destId="{7A7E103B-B5B2-481B-8CE7-5C8D719A2205}" srcOrd="1" destOrd="0" presId="urn:microsoft.com/office/officeart/2005/8/layout/matrix1"/>
    <dgm:cxn modelId="{E1ECC93B-8AA4-453D-86B5-E4F2A92B1C5F}" type="presParOf" srcId="{00A2761D-3565-436A-8593-E706355FCE55}" destId="{D0229584-9C34-4778-B8AA-1AA196E63414}" srcOrd="2" destOrd="0" presId="urn:microsoft.com/office/officeart/2005/8/layout/matrix1"/>
    <dgm:cxn modelId="{049430F0-A1FC-48F2-96D9-AE7D1D5FD694}" type="presParOf" srcId="{00A2761D-3565-436A-8593-E706355FCE55}" destId="{28F8378A-4E8F-437D-805A-233D26F6CC90}" srcOrd="3" destOrd="0" presId="urn:microsoft.com/office/officeart/2005/8/layout/matrix1"/>
    <dgm:cxn modelId="{57DBD8EA-3231-465D-9940-441A98F8A96C}" type="presParOf" srcId="{00A2761D-3565-436A-8593-E706355FCE55}" destId="{374D5145-E2A1-4964-AF5F-50EBD090420C}" srcOrd="4" destOrd="0" presId="urn:microsoft.com/office/officeart/2005/8/layout/matrix1"/>
    <dgm:cxn modelId="{9C027B0B-BF20-4EBA-981C-0B608DC9B1E5}" type="presParOf" srcId="{00A2761D-3565-436A-8593-E706355FCE55}" destId="{A554ECCF-078E-4C1A-B5EA-60B059539F64}" srcOrd="5" destOrd="0" presId="urn:microsoft.com/office/officeart/2005/8/layout/matrix1"/>
    <dgm:cxn modelId="{687EF132-42E4-4B64-B715-B31E1004AF03}" type="presParOf" srcId="{00A2761D-3565-436A-8593-E706355FCE55}" destId="{73269400-037F-4E4D-8615-9F6ADD40C530}" srcOrd="6" destOrd="0" presId="urn:microsoft.com/office/officeart/2005/8/layout/matrix1"/>
    <dgm:cxn modelId="{DE9A1C77-D668-4904-AA23-89A1824B56B4}" type="presParOf" srcId="{00A2761D-3565-436A-8593-E706355FCE55}" destId="{94B35573-9737-4B63-B540-F417DE6061EB}" srcOrd="7" destOrd="0" presId="urn:microsoft.com/office/officeart/2005/8/layout/matrix1"/>
    <dgm:cxn modelId="{74ACF0B2-5BFA-48E4-A1AA-14BF478F1387}" type="presParOf" srcId="{E61B37B7-C941-41C8-B46C-52666FC1C4F8}" destId="{2E174289-C717-4B8B-BD2D-0BA70D09B63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248B1F1C-76B2-4F39-AAAB-E337481F01CC}" type="doc">
      <dgm:prSet loTypeId="urn:microsoft.com/office/officeart/2008/layout/AlternatingPictureBlocks" loCatId="list" qsTypeId="urn:microsoft.com/office/officeart/2005/8/quickstyle/simple1" qsCatId="simple" csTypeId="urn:microsoft.com/office/officeart/2005/8/colors/colorful5" csCatId="colorful" phldr="1"/>
      <dgm:spPr/>
    </dgm:pt>
    <dgm:pt modelId="{DA342C3F-4ADA-4046-A03F-4DB5939F23CF}">
      <dgm:prSet phldrT="[Text]"/>
      <dgm:spPr/>
      <dgm:t>
        <a:bodyPr/>
        <a:lstStyle/>
        <a:p>
          <a:r>
            <a:rPr lang="pl-PL" dirty="0"/>
            <a:t>One to fit all</a:t>
          </a:r>
          <a:endParaRPr lang="de-DE" dirty="0"/>
        </a:p>
      </dgm:t>
    </dgm:pt>
    <dgm:pt modelId="{F3F41DCD-4E81-4585-ACFB-8789F796EA6B}" type="parTrans" cxnId="{DFCA6379-4F2A-46ED-B376-A56B072044BF}">
      <dgm:prSet/>
      <dgm:spPr/>
      <dgm:t>
        <a:bodyPr/>
        <a:lstStyle/>
        <a:p>
          <a:endParaRPr lang="de-DE"/>
        </a:p>
      </dgm:t>
    </dgm:pt>
    <dgm:pt modelId="{1F787671-B524-45D6-80E9-ACA5769A6459}" type="sibTrans" cxnId="{DFCA6379-4F2A-46ED-B376-A56B072044BF}">
      <dgm:prSet/>
      <dgm:spPr/>
      <dgm:t>
        <a:bodyPr/>
        <a:lstStyle/>
        <a:p>
          <a:endParaRPr lang="de-DE"/>
        </a:p>
      </dgm:t>
    </dgm:pt>
    <dgm:pt modelId="{09AA7AF2-0EC7-4A39-A1C7-2C848346725D}">
      <dgm:prSet phldrT="[Text]"/>
      <dgm:spPr/>
      <dgm:t>
        <a:bodyPr/>
        <a:lstStyle/>
        <a:p>
          <a:r>
            <a:rPr lang="en-US" noProof="0" dirty="0"/>
            <a:t>Infrastructure support</a:t>
          </a:r>
        </a:p>
      </dgm:t>
    </dgm:pt>
    <dgm:pt modelId="{AD818AC4-0359-4F16-BF72-C1FB25F5D256}" type="parTrans" cxnId="{EF65BE55-BC74-42B5-BD64-395C604D09C8}">
      <dgm:prSet/>
      <dgm:spPr/>
      <dgm:t>
        <a:bodyPr/>
        <a:lstStyle/>
        <a:p>
          <a:endParaRPr lang="de-DE"/>
        </a:p>
      </dgm:t>
    </dgm:pt>
    <dgm:pt modelId="{77A9D364-1232-4FBC-B384-DA4026CEF64F}" type="sibTrans" cxnId="{EF65BE55-BC74-42B5-BD64-395C604D09C8}">
      <dgm:prSet/>
      <dgm:spPr/>
      <dgm:t>
        <a:bodyPr/>
        <a:lstStyle/>
        <a:p>
          <a:endParaRPr lang="de-DE"/>
        </a:p>
      </dgm:t>
    </dgm:pt>
    <dgm:pt modelId="{9D25F920-B982-4B2D-9B9B-33C0973F97DD}">
      <dgm:prSet phldrT="[Text]"/>
      <dgm:spPr/>
      <dgm:t>
        <a:bodyPr/>
        <a:lstStyle/>
        <a:p>
          <a:r>
            <a:rPr lang="pl-PL" dirty="0"/>
            <a:t>Practictional expertise</a:t>
          </a:r>
          <a:endParaRPr lang="de-DE" dirty="0"/>
        </a:p>
      </dgm:t>
    </dgm:pt>
    <dgm:pt modelId="{BDD8373F-A96D-4B7F-9B64-E157187B4796}" type="parTrans" cxnId="{965C9692-6C87-46DB-B4D7-6F373259D541}">
      <dgm:prSet/>
      <dgm:spPr/>
      <dgm:t>
        <a:bodyPr/>
        <a:lstStyle/>
        <a:p>
          <a:endParaRPr lang="de-DE"/>
        </a:p>
      </dgm:t>
    </dgm:pt>
    <dgm:pt modelId="{46FB924B-DD1E-4D4B-9A45-7DCF6A827696}" type="sibTrans" cxnId="{965C9692-6C87-46DB-B4D7-6F373259D541}">
      <dgm:prSet/>
      <dgm:spPr/>
      <dgm:t>
        <a:bodyPr/>
        <a:lstStyle/>
        <a:p>
          <a:endParaRPr lang="de-DE"/>
        </a:p>
      </dgm:t>
    </dgm:pt>
    <dgm:pt modelId="{0BBB9CE9-45B8-48AA-B13B-4E753C470D96}" type="pres">
      <dgm:prSet presAssocID="{248B1F1C-76B2-4F39-AAAB-E337481F01CC}" presName="linearFlow" presStyleCnt="0">
        <dgm:presLayoutVars>
          <dgm:dir/>
          <dgm:resizeHandles val="exact"/>
        </dgm:presLayoutVars>
      </dgm:prSet>
      <dgm:spPr/>
    </dgm:pt>
    <dgm:pt modelId="{DF78611C-8119-48FB-B40F-24447880D499}" type="pres">
      <dgm:prSet presAssocID="{DA342C3F-4ADA-4046-A03F-4DB5939F23CF}" presName="comp" presStyleCnt="0"/>
      <dgm:spPr/>
    </dgm:pt>
    <dgm:pt modelId="{F9741038-82F9-499F-A80A-7896A5EF3A5E}" type="pres">
      <dgm:prSet presAssocID="{DA342C3F-4ADA-4046-A03F-4DB5939F23CF}" presName="rect2" presStyleLbl="node1" presStyleIdx="0" presStyleCnt="3">
        <dgm:presLayoutVars>
          <dgm:bulletEnabled val="1"/>
        </dgm:presLayoutVars>
      </dgm:prSet>
      <dgm:spPr/>
    </dgm:pt>
    <dgm:pt modelId="{2482745A-4D2D-45E5-B2DE-4268E6ABAF54}" type="pres">
      <dgm:prSet presAssocID="{DA342C3F-4ADA-4046-A03F-4DB5939F23CF}" presName="rect1" presStyleLbl="ln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</dgm:spPr>
      <dgm:extLst>
        <a:ext uri="{E40237B7-FDA0-4F09-8148-C483321AD2D9}">
          <dgm14:cNvPr xmlns:dgm14="http://schemas.microsoft.com/office/drawing/2010/diagram" id="0" name="" descr="Tools"/>
        </a:ext>
      </dgm:extLst>
    </dgm:pt>
    <dgm:pt modelId="{20DEB013-898C-4463-8851-6247DC1D308B}" type="pres">
      <dgm:prSet presAssocID="{1F787671-B524-45D6-80E9-ACA5769A6459}" presName="sibTrans" presStyleCnt="0"/>
      <dgm:spPr/>
    </dgm:pt>
    <dgm:pt modelId="{EF298096-3CED-4794-90BF-456CE6F6F41C}" type="pres">
      <dgm:prSet presAssocID="{09AA7AF2-0EC7-4A39-A1C7-2C848346725D}" presName="comp" presStyleCnt="0"/>
      <dgm:spPr/>
    </dgm:pt>
    <dgm:pt modelId="{1A72478B-F252-4E1B-856F-595E40E3DC1B}" type="pres">
      <dgm:prSet presAssocID="{09AA7AF2-0EC7-4A39-A1C7-2C848346725D}" presName="rect2" presStyleLbl="node1" presStyleIdx="1" presStyleCnt="3">
        <dgm:presLayoutVars>
          <dgm:bulletEnabled val="1"/>
        </dgm:presLayoutVars>
      </dgm:prSet>
      <dgm:spPr/>
    </dgm:pt>
    <dgm:pt modelId="{7AE05A58-8395-41F1-B3CE-4E203674E459}" type="pres">
      <dgm:prSet presAssocID="{09AA7AF2-0EC7-4A39-A1C7-2C848346725D}" presName="rect1" presStyleLbl="ln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1000" r="-1000"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CB5F2C5-5939-41EF-9298-A8D069933EDA}" type="pres">
      <dgm:prSet presAssocID="{77A9D364-1232-4FBC-B384-DA4026CEF64F}" presName="sibTrans" presStyleCnt="0"/>
      <dgm:spPr/>
    </dgm:pt>
    <dgm:pt modelId="{23258E99-067F-46E5-8A95-AAE5FB6EA62A}" type="pres">
      <dgm:prSet presAssocID="{9D25F920-B982-4B2D-9B9B-33C0973F97DD}" presName="comp" presStyleCnt="0"/>
      <dgm:spPr/>
    </dgm:pt>
    <dgm:pt modelId="{2DE2AC38-B36A-4A4A-B9A6-46C45819A088}" type="pres">
      <dgm:prSet presAssocID="{9D25F920-B982-4B2D-9B9B-33C0973F97DD}" presName="rect2" presStyleLbl="node1" presStyleIdx="2" presStyleCnt="3">
        <dgm:presLayoutVars>
          <dgm:bulletEnabled val="1"/>
        </dgm:presLayoutVars>
      </dgm:prSet>
      <dgm:spPr/>
    </dgm:pt>
    <dgm:pt modelId="{297D851F-C979-4F1B-AAA6-988EE90EBF6A}" type="pres">
      <dgm:prSet presAssocID="{9D25F920-B982-4B2D-9B9B-33C0973F97DD}" presName="rect1" presStyleLbl="ln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1000" r="-1000"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</dgm:ptLst>
  <dgm:cxnLst>
    <dgm:cxn modelId="{FDDB7E0D-DD6D-4682-9AEF-97F726A2CABD}" type="presOf" srcId="{248B1F1C-76B2-4F39-AAAB-E337481F01CC}" destId="{0BBB9CE9-45B8-48AA-B13B-4E753C470D96}" srcOrd="0" destOrd="0" presId="urn:microsoft.com/office/officeart/2008/layout/AlternatingPictureBlocks"/>
    <dgm:cxn modelId="{06D0EA0D-73C5-4CD6-93AE-619824A70586}" type="presOf" srcId="{9D25F920-B982-4B2D-9B9B-33C0973F97DD}" destId="{2DE2AC38-B36A-4A4A-B9A6-46C45819A088}" srcOrd="0" destOrd="0" presId="urn:microsoft.com/office/officeart/2008/layout/AlternatingPictureBlocks"/>
    <dgm:cxn modelId="{FF4F8F1B-0217-4E1F-B318-34D4C2266275}" type="presOf" srcId="{DA342C3F-4ADA-4046-A03F-4DB5939F23CF}" destId="{F9741038-82F9-499F-A80A-7896A5EF3A5E}" srcOrd="0" destOrd="0" presId="urn:microsoft.com/office/officeart/2008/layout/AlternatingPictureBlocks"/>
    <dgm:cxn modelId="{42D44F6D-3DCC-4B74-B0D8-8A6E334B1670}" type="presOf" srcId="{09AA7AF2-0EC7-4A39-A1C7-2C848346725D}" destId="{1A72478B-F252-4E1B-856F-595E40E3DC1B}" srcOrd="0" destOrd="0" presId="urn:microsoft.com/office/officeart/2008/layout/AlternatingPictureBlocks"/>
    <dgm:cxn modelId="{EF65BE55-BC74-42B5-BD64-395C604D09C8}" srcId="{248B1F1C-76B2-4F39-AAAB-E337481F01CC}" destId="{09AA7AF2-0EC7-4A39-A1C7-2C848346725D}" srcOrd="1" destOrd="0" parTransId="{AD818AC4-0359-4F16-BF72-C1FB25F5D256}" sibTransId="{77A9D364-1232-4FBC-B384-DA4026CEF64F}"/>
    <dgm:cxn modelId="{DFCA6379-4F2A-46ED-B376-A56B072044BF}" srcId="{248B1F1C-76B2-4F39-AAAB-E337481F01CC}" destId="{DA342C3F-4ADA-4046-A03F-4DB5939F23CF}" srcOrd="0" destOrd="0" parTransId="{F3F41DCD-4E81-4585-ACFB-8789F796EA6B}" sibTransId="{1F787671-B524-45D6-80E9-ACA5769A6459}"/>
    <dgm:cxn modelId="{965C9692-6C87-46DB-B4D7-6F373259D541}" srcId="{248B1F1C-76B2-4F39-AAAB-E337481F01CC}" destId="{9D25F920-B982-4B2D-9B9B-33C0973F97DD}" srcOrd="2" destOrd="0" parTransId="{BDD8373F-A96D-4B7F-9B64-E157187B4796}" sibTransId="{46FB924B-DD1E-4D4B-9A45-7DCF6A827696}"/>
    <dgm:cxn modelId="{3FF8C56D-5336-481B-921F-6EF3EE6354E6}" type="presParOf" srcId="{0BBB9CE9-45B8-48AA-B13B-4E753C470D96}" destId="{DF78611C-8119-48FB-B40F-24447880D499}" srcOrd="0" destOrd="0" presId="urn:microsoft.com/office/officeart/2008/layout/AlternatingPictureBlocks"/>
    <dgm:cxn modelId="{79FD3543-6484-4A3C-813B-C64BEB6F4EC6}" type="presParOf" srcId="{DF78611C-8119-48FB-B40F-24447880D499}" destId="{F9741038-82F9-499F-A80A-7896A5EF3A5E}" srcOrd="0" destOrd="0" presId="urn:microsoft.com/office/officeart/2008/layout/AlternatingPictureBlocks"/>
    <dgm:cxn modelId="{EDAF4697-B0E8-4643-80BD-E444658A9FB8}" type="presParOf" srcId="{DF78611C-8119-48FB-B40F-24447880D499}" destId="{2482745A-4D2D-45E5-B2DE-4268E6ABAF54}" srcOrd="1" destOrd="0" presId="urn:microsoft.com/office/officeart/2008/layout/AlternatingPictureBlocks"/>
    <dgm:cxn modelId="{7357124C-1672-4B9C-B552-0FAC3F811A65}" type="presParOf" srcId="{0BBB9CE9-45B8-48AA-B13B-4E753C470D96}" destId="{20DEB013-898C-4463-8851-6247DC1D308B}" srcOrd="1" destOrd="0" presId="urn:microsoft.com/office/officeart/2008/layout/AlternatingPictureBlocks"/>
    <dgm:cxn modelId="{28B26B75-8A5D-477A-8B18-E12E6C31574E}" type="presParOf" srcId="{0BBB9CE9-45B8-48AA-B13B-4E753C470D96}" destId="{EF298096-3CED-4794-90BF-456CE6F6F41C}" srcOrd="2" destOrd="0" presId="urn:microsoft.com/office/officeart/2008/layout/AlternatingPictureBlocks"/>
    <dgm:cxn modelId="{1FB41731-8A33-45E6-A15A-5AF368B42EFE}" type="presParOf" srcId="{EF298096-3CED-4794-90BF-456CE6F6F41C}" destId="{1A72478B-F252-4E1B-856F-595E40E3DC1B}" srcOrd="0" destOrd="0" presId="urn:microsoft.com/office/officeart/2008/layout/AlternatingPictureBlocks"/>
    <dgm:cxn modelId="{28F9C09C-A6EC-4A5C-8F62-D300ECCAB1D6}" type="presParOf" srcId="{EF298096-3CED-4794-90BF-456CE6F6F41C}" destId="{7AE05A58-8395-41F1-B3CE-4E203674E459}" srcOrd="1" destOrd="0" presId="urn:microsoft.com/office/officeart/2008/layout/AlternatingPictureBlocks"/>
    <dgm:cxn modelId="{76A0534D-5FD9-4FB3-8A28-E2CF63DCFC6F}" type="presParOf" srcId="{0BBB9CE9-45B8-48AA-B13B-4E753C470D96}" destId="{9CB5F2C5-5939-41EF-9298-A8D069933EDA}" srcOrd="3" destOrd="0" presId="urn:microsoft.com/office/officeart/2008/layout/AlternatingPictureBlocks"/>
    <dgm:cxn modelId="{D952F851-97FE-4F42-BBCE-FF52EF6F8B1A}" type="presParOf" srcId="{0BBB9CE9-45B8-48AA-B13B-4E753C470D96}" destId="{23258E99-067F-46E5-8A95-AAE5FB6EA62A}" srcOrd="4" destOrd="0" presId="urn:microsoft.com/office/officeart/2008/layout/AlternatingPictureBlocks"/>
    <dgm:cxn modelId="{098D26A5-195D-43DD-A8F6-9B3714670EAC}" type="presParOf" srcId="{23258E99-067F-46E5-8A95-AAE5FB6EA62A}" destId="{2DE2AC38-B36A-4A4A-B9A6-46C45819A088}" srcOrd="0" destOrd="0" presId="urn:microsoft.com/office/officeart/2008/layout/AlternatingPictureBlocks"/>
    <dgm:cxn modelId="{39679DB3-665D-45C3-8D0C-E0EC28679B26}" type="presParOf" srcId="{23258E99-067F-46E5-8A95-AAE5FB6EA62A}" destId="{297D851F-C979-4F1B-AAA6-988EE90EBF6A}" srcOrd="1" destOrd="0" presId="urn:microsoft.com/office/officeart/2008/layout/AlternatingPictureBlocks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architecture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/>
      <dgm:t>
        <a:bodyPr/>
        <a:lstStyle/>
        <a:p>
          <a:r>
            <a:rPr lang="en-US" noProof="0"/>
            <a:t>Database module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09BA98DE-DEC2-4D0D-8490-D3297BBF0088}">
      <dgm:prSet phldrT="[Text]"/>
      <dgm:spPr/>
      <dgm:t>
        <a:bodyPr/>
        <a:lstStyle/>
        <a:p>
          <a:r>
            <a:rPr lang="en-US" noProof="0"/>
            <a:t>WebAPI module</a:t>
          </a:r>
        </a:p>
      </dgm:t>
    </dgm:pt>
    <dgm:pt modelId="{8E89657A-9899-4663-8EBD-CE951A955DD5}" type="parTrans" cxnId="{B74A69C1-DB0A-4823-ABB8-FD9F97D1DF87}">
      <dgm:prSet/>
      <dgm:spPr/>
      <dgm:t>
        <a:bodyPr/>
        <a:lstStyle/>
        <a:p>
          <a:endParaRPr lang="en-US"/>
        </a:p>
      </dgm:t>
    </dgm:pt>
    <dgm:pt modelId="{D9604DA3-0B95-413D-AA9C-D75798C0FF52}" type="sibTrans" cxnId="{B74A69C1-DB0A-4823-ABB8-FD9F97D1DF87}">
      <dgm:prSet/>
      <dgm:spPr/>
      <dgm:t>
        <a:bodyPr/>
        <a:lstStyle/>
        <a:p>
          <a:endParaRPr lang="en-US"/>
        </a:p>
      </dgm:t>
    </dgm:pt>
    <dgm:pt modelId="{A7376EC0-5FEA-48A4-B284-B453C867CA4F}">
      <dgm:prSet phldrT="[Text]"/>
      <dgm:spPr/>
      <dgm:t>
        <a:bodyPr/>
        <a:lstStyle/>
        <a:p>
          <a:r>
            <a:rPr lang="en-US" noProof="0"/>
            <a:t>UI (Selenium) module</a:t>
          </a:r>
        </a:p>
      </dgm:t>
    </dgm:pt>
    <dgm:pt modelId="{D8387D70-E1F9-4B42-8EE4-B3BED889F64B}" type="parTrans" cxnId="{AC431E10-8495-40FC-AE68-1DE0241390B0}">
      <dgm:prSet/>
      <dgm:spPr/>
      <dgm:t>
        <a:bodyPr/>
        <a:lstStyle/>
        <a:p>
          <a:endParaRPr lang="en-US"/>
        </a:p>
      </dgm:t>
    </dgm:pt>
    <dgm:pt modelId="{620F1AE9-67A6-43E4-8D4E-A7556D36F8F8}" type="sibTrans" cxnId="{AC431E10-8495-40FC-AE68-1DE0241390B0}">
      <dgm:prSet/>
      <dgm:spPr/>
      <dgm:t>
        <a:bodyPr/>
        <a:lstStyle/>
        <a:p>
          <a:endParaRPr lang="en-US"/>
        </a:p>
      </dgm:t>
    </dgm:pt>
    <dgm:pt modelId="{2292288B-8B39-49F2-9CA8-9AFCD7CDA712}">
      <dgm:prSet phldrT="[Text]"/>
      <dgm:spPr/>
      <dgm:t>
        <a:bodyPr/>
        <a:lstStyle/>
        <a:p>
          <a:r>
            <a:rPr lang="en-US" noProof="0"/>
            <a:t>Selenium Grid</a:t>
          </a:r>
        </a:p>
      </dgm:t>
    </dgm:pt>
    <dgm:pt modelId="{01D0AB0F-E732-41F9-9D62-3B8C4434DC42}" type="parTrans" cxnId="{01735BA0-2B36-41EC-BFC0-0CCFA7ACD053}">
      <dgm:prSet/>
      <dgm:spPr/>
      <dgm:t>
        <a:bodyPr/>
        <a:lstStyle/>
        <a:p>
          <a:endParaRPr lang="en-US"/>
        </a:p>
      </dgm:t>
    </dgm:pt>
    <dgm:pt modelId="{572C2FA6-B61B-4B7E-9BE2-BE1757364927}" type="sibTrans" cxnId="{01735BA0-2B36-41EC-BFC0-0CCFA7ACD053}">
      <dgm:prSet/>
      <dgm:spPr/>
      <dgm:t>
        <a:bodyPr/>
        <a:lstStyle/>
        <a:p>
          <a:endParaRPr lang="en-US"/>
        </a:p>
      </dgm:t>
    </dgm:pt>
    <dgm:pt modelId="{589892E1-7E9A-4ED2-9A00-ECF59CD9E4E2}">
      <dgm:prSet phldrT="[Text]"/>
      <dgm:spPr/>
      <dgm:t>
        <a:bodyPr/>
        <a:lstStyle/>
        <a:p>
          <a:r>
            <a:rPr lang="en-US" noProof="0" dirty="0"/>
            <a:t>Mobile (</a:t>
          </a:r>
          <a:r>
            <a:rPr lang="en-US" noProof="0" dirty="0" err="1"/>
            <a:t>Appium</a:t>
          </a:r>
          <a:r>
            <a:rPr lang="en-US" noProof="0" dirty="0"/>
            <a:t>) app</a:t>
          </a:r>
          <a:r>
            <a:rPr lang="pl-PL" noProof="0" dirty="0"/>
            <a:t> *</a:t>
          </a:r>
          <a:endParaRPr lang="en-US" noProof="0" dirty="0"/>
        </a:p>
      </dgm:t>
    </dgm:pt>
    <dgm:pt modelId="{6298D63F-CF36-4C9A-B1AF-B6EC065B8542}" type="parTrans" cxnId="{D68E50A4-4DE3-4F5D-92C6-F68E47329EAA}">
      <dgm:prSet/>
      <dgm:spPr/>
      <dgm:t>
        <a:bodyPr/>
        <a:lstStyle/>
        <a:p>
          <a:endParaRPr lang="en-US"/>
        </a:p>
      </dgm:t>
    </dgm:pt>
    <dgm:pt modelId="{6E27F27E-66F1-4C1C-AB5B-DE1A342F5B80}" type="sibTrans" cxnId="{D68E50A4-4DE3-4F5D-92C6-F68E47329EAA}">
      <dgm:prSet/>
      <dgm:spPr/>
      <dgm:t>
        <a:bodyPr/>
        <a:lstStyle/>
        <a:p>
          <a:endParaRPr lang="en-US"/>
        </a:p>
      </dgm:t>
    </dgm:pt>
    <dgm:pt modelId="{6B9937D0-C50E-45C2-B4B1-863E69FCB5B1}">
      <dgm:prSet phldrT="[Text]"/>
      <dgm:spPr/>
      <dgm:t>
        <a:bodyPr/>
        <a:lstStyle/>
        <a:p>
          <a:r>
            <a:rPr lang="en-US" noProof="0" dirty="0"/>
            <a:t>Mobile </a:t>
          </a:r>
          <a:br>
            <a:rPr lang="pl-PL" noProof="0" dirty="0"/>
          </a:br>
          <a:r>
            <a:rPr lang="en-US" noProof="0" dirty="0"/>
            <a:t>Grid</a:t>
          </a:r>
          <a:r>
            <a:rPr lang="pl-PL" noProof="0" dirty="0"/>
            <a:t> *</a:t>
          </a:r>
          <a:endParaRPr lang="en-US" noProof="0" dirty="0"/>
        </a:p>
      </dgm:t>
    </dgm:pt>
    <dgm:pt modelId="{AEF92B5E-DA15-46F7-BACF-71FF8F3D14F0}" type="parTrans" cxnId="{8F0BC77A-97BE-4977-BDA7-D96570690F34}">
      <dgm:prSet/>
      <dgm:spPr/>
      <dgm:t>
        <a:bodyPr/>
        <a:lstStyle/>
        <a:p>
          <a:endParaRPr lang="en-US"/>
        </a:p>
      </dgm:t>
    </dgm:pt>
    <dgm:pt modelId="{981C6366-F035-4302-9D7B-6125B4FAB462}" type="sibTrans" cxnId="{8F0BC77A-97BE-4977-BDA7-D96570690F34}">
      <dgm:prSet/>
      <dgm:spPr/>
      <dgm:t>
        <a:bodyPr/>
        <a:lstStyle/>
        <a:p>
          <a:endParaRPr lang="en-US"/>
        </a:p>
      </dgm:t>
    </dgm:pt>
    <dgm:pt modelId="{16B3806B-317F-41B0-ABDF-7267C80EC3B2}">
      <dgm:prSet phldrT="[Text]"/>
      <dgm:spPr/>
      <dgm:t>
        <a:bodyPr/>
        <a:lstStyle/>
        <a:p>
          <a:r>
            <a:rPr lang="en-US" noProof="0" dirty="0"/>
            <a:t>Standalone APP</a:t>
          </a:r>
          <a:r>
            <a:rPr lang="pl-PL" noProof="0" dirty="0"/>
            <a:t> *</a:t>
          </a:r>
          <a:endParaRPr lang="en-US" noProof="0" dirty="0"/>
        </a:p>
      </dgm:t>
    </dgm:pt>
    <dgm:pt modelId="{97DC8A9B-CFD6-40D1-A1ED-398BABE06067}" type="parTrans" cxnId="{5A200011-DE1C-4E4A-8F4A-4D5AD08EE3A9}">
      <dgm:prSet/>
      <dgm:spPr/>
      <dgm:t>
        <a:bodyPr/>
        <a:lstStyle/>
        <a:p>
          <a:endParaRPr lang="en-US"/>
        </a:p>
      </dgm:t>
    </dgm:pt>
    <dgm:pt modelId="{C1409865-ED18-41BE-9B28-662D81AEEE4F}" type="sibTrans" cxnId="{5A200011-DE1C-4E4A-8F4A-4D5AD08EE3A9}">
      <dgm:prSet/>
      <dgm:spPr/>
      <dgm:t>
        <a:bodyPr/>
        <a:lstStyle/>
        <a:p>
          <a:endParaRPr lang="en-US"/>
        </a:p>
      </dgm:t>
    </dgm:pt>
    <dgm:pt modelId="{8E346F4D-76A2-462D-9B44-3650FB2B405C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/>
            <a:t>Security module</a:t>
          </a:r>
        </a:p>
      </dgm:t>
    </dgm:pt>
    <dgm:pt modelId="{3F230114-3CC0-45DF-9870-044520BC28C8}" type="parTrans" cxnId="{1D76C90C-838C-4330-B04F-05BE873D410F}">
      <dgm:prSet/>
      <dgm:spPr/>
      <dgm:t>
        <a:bodyPr/>
        <a:lstStyle/>
        <a:p>
          <a:endParaRPr lang="en-US"/>
        </a:p>
      </dgm:t>
    </dgm:pt>
    <dgm:pt modelId="{0F905974-FF65-435B-B2DD-FBC8F1A908F0}" type="sibTrans" cxnId="{1D76C90C-838C-4330-B04F-05BE873D410F}">
      <dgm:prSet/>
      <dgm:spPr/>
      <dgm:t>
        <a:bodyPr/>
        <a:lstStyle/>
        <a:p>
          <a:endParaRPr lang="en-US"/>
        </a:p>
      </dgm:t>
    </dgm:pt>
    <dgm:pt modelId="{6733E3A7-9EE4-4EFF-B65C-61E0B126E302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DevOps module</a:t>
          </a:r>
        </a:p>
      </dgm:t>
    </dgm:pt>
    <dgm:pt modelId="{3D98FF0D-B7EB-42FA-8A0C-F97A740C5CC2}" type="parTrans" cxnId="{C4B3FED4-3336-4139-911B-D057D16A48F5}">
      <dgm:prSet/>
      <dgm:spPr/>
      <dgm:t>
        <a:bodyPr/>
        <a:lstStyle/>
        <a:p>
          <a:endParaRPr lang="en-US"/>
        </a:p>
      </dgm:t>
    </dgm:pt>
    <dgm:pt modelId="{C64997DC-0FAE-46D2-807A-F0C151BFA135}" type="sibTrans" cxnId="{C4B3FED4-3336-4139-911B-D057D16A48F5}">
      <dgm:prSet/>
      <dgm:spPr/>
      <dgm:t>
        <a:bodyPr/>
        <a:lstStyle/>
        <a:p>
          <a:endParaRPr lang="en-US"/>
        </a:p>
      </dgm:t>
    </dgm:pt>
    <dgm:pt modelId="{9A65ADEB-F1B5-411F-B9AC-B64E8E60B070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 dirty="0"/>
            <a:t>Test core module</a:t>
          </a:r>
        </a:p>
      </dgm:t>
    </dgm:pt>
    <dgm:pt modelId="{124EE3FC-3289-4868-83FD-BB361276B47E}" type="parTrans" cxnId="{6933AB0D-D526-4683-90E6-DBCAD5B13CA0}">
      <dgm:prSet/>
      <dgm:spPr/>
      <dgm:t>
        <a:bodyPr/>
        <a:lstStyle/>
        <a:p>
          <a:endParaRPr lang="en-US"/>
        </a:p>
      </dgm:t>
    </dgm:pt>
    <dgm:pt modelId="{80E8A97E-4D14-4268-B043-8933A19483DA}" type="sibTrans" cxnId="{6933AB0D-D526-4683-90E6-DBCAD5B13CA0}">
      <dgm:prSet/>
      <dgm:spPr/>
      <dgm:t>
        <a:bodyPr/>
        <a:lstStyle/>
        <a:p>
          <a:endParaRPr lang="en-US"/>
        </a:p>
      </dgm:t>
    </dgm:pt>
    <dgm:pt modelId="{2B2119DE-9C5F-42BD-90CA-B1F7EF735AF4}" type="pres">
      <dgm:prSet presAssocID="{B9C32B05-62EA-407A-B21C-2310C794570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B9E2D6A-8969-4EEC-85C2-615B86E0B196}" type="pres">
      <dgm:prSet presAssocID="{42D71409-67F9-455C-8C6D-716D284AAA6B}" presName="vertOne" presStyleCnt="0"/>
      <dgm:spPr/>
    </dgm:pt>
    <dgm:pt modelId="{034D588B-2C5E-413E-8FB3-A45A598FE77E}" type="pres">
      <dgm:prSet presAssocID="{42D71409-67F9-455C-8C6D-716D284AAA6B}" presName="txOne" presStyleLbl="node0" presStyleIdx="0" presStyleCnt="3">
        <dgm:presLayoutVars>
          <dgm:chPref val="3"/>
        </dgm:presLayoutVars>
      </dgm:prSet>
      <dgm:spPr/>
    </dgm:pt>
    <dgm:pt modelId="{155C8750-CD3F-4EED-8869-852B83F3E2B4}" type="pres">
      <dgm:prSet presAssocID="{42D71409-67F9-455C-8C6D-716D284AAA6B}" presName="parTransOne" presStyleCnt="0"/>
      <dgm:spPr/>
    </dgm:pt>
    <dgm:pt modelId="{782F8E29-E0AF-4190-B2CF-FA75DA3E0DD3}" type="pres">
      <dgm:prSet presAssocID="{42D71409-67F9-455C-8C6D-716D284AAA6B}" presName="horzOne" presStyleCnt="0"/>
      <dgm:spPr/>
    </dgm:pt>
    <dgm:pt modelId="{DA72A51A-2648-42DA-A6F5-1368068F74F5}" type="pres">
      <dgm:prSet presAssocID="{8E346F4D-76A2-462D-9B44-3650FB2B405C}" presName="vertTwo" presStyleCnt="0"/>
      <dgm:spPr/>
    </dgm:pt>
    <dgm:pt modelId="{CDB456C7-FEB2-4189-8DB4-859E0B913BE7}" type="pres">
      <dgm:prSet presAssocID="{8E346F4D-76A2-462D-9B44-3650FB2B405C}" presName="txTwo" presStyleLbl="node2" presStyleIdx="0" presStyleCnt="2" custScaleY="205355" custLinFactX="225310" custLinFactNeighborX="300000" custLinFactNeighborY="2804">
        <dgm:presLayoutVars>
          <dgm:chPref val="3"/>
        </dgm:presLayoutVars>
      </dgm:prSet>
      <dgm:spPr/>
    </dgm:pt>
    <dgm:pt modelId="{665A94F3-AC2E-440A-90D8-6366FA2C472B}" type="pres">
      <dgm:prSet presAssocID="{8E346F4D-76A2-462D-9B44-3650FB2B405C}" presName="horzTwo" presStyleCnt="0"/>
      <dgm:spPr/>
    </dgm:pt>
    <dgm:pt modelId="{E8E6822D-8E60-479F-9744-0822855A4470}" type="pres">
      <dgm:prSet presAssocID="{0F905974-FF65-435B-B2DD-FBC8F1A908F0}" presName="sibSpaceTwo" presStyleCnt="0"/>
      <dgm:spPr/>
    </dgm:pt>
    <dgm:pt modelId="{1DEC18CE-0974-4E7A-AE22-5B53857D08A5}" type="pres">
      <dgm:prSet presAssocID="{09BA98DE-DEC2-4D0D-8490-D3297BBF0088}" presName="vertTwo" presStyleCnt="0"/>
      <dgm:spPr/>
    </dgm:pt>
    <dgm:pt modelId="{79946D67-CF20-4533-873C-9747C402A031}" type="pres">
      <dgm:prSet presAssocID="{09BA98DE-DEC2-4D0D-8490-D3297BBF0088}" presName="txTwo" presStyleLbl="node2" presStyleIdx="1" presStyleCnt="2" custLinFactNeighborX="-21053" custLinFactNeighborY="48072">
        <dgm:presLayoutVars>
          <dgm:chPref val="3"/>
        </dgm:presLayoutVars>
      </dgm:prSet>
      <dgm:spPr/>
    </dgm:pt>
    <dgm:pt modelId="{11A9DFF6-0FBF-42E2-AC9E-E9078967B9F6}" type="pres">
      <dgm:prSet presAssocID="{09BA98DE-DEC2-4D0D-8490-D3297BBF0088}" presName="parTransTwo" presStyleCnt="0"/>
      <dgm:spPr/>
    </dgm:pt>
    <dgm:pt modelId="{B536D2A5-09A8-40A9-B9B2-95A40A490E97}" type="pres">
      <dgm:prSet presAssocID="{09BA98DE-DEC2-4D0D-8490-D3297BBF0088}" presName="horzTwo" presStyleCnt="0"/>
      <dgm:spPr/>
    </dgm:pt>
    <dgm:pt modelId="{CC689BD4-6667-4A02-BE0B-05FBA1E9DFEE}" type="pres">
      <dgm:prSet presAssocID="{A7376EC0-5FEA-48A4-B284-B453C867CA4F}" presName="vertThree" presStyleCnt="0"/>
      <dgm:spPr/>
    </dgm:pt>
    <dgm:pt modelId="{7951CDCD-4F97-4CCA-8C56-4992B72B07BB}" type="pres">
      <dgm:prSet presAssocID="{A7376EC0-5FEA-48A4-B284-B453C867CA4F}" presName="txThree" presStyleLbl="node3" presStyleIdx="0" presStyleCnt="5" custLinFactX="-9429" custLinFactNeighborX="-100000" custLinFactNeighborY="8130">
        <dgm:presLayoutVars>
          <dgm:chPref val="3"/>
        </dgm:presLayoutVars>
      </dgm:prSet>
      <dgm:spPr/>
    </dgm:pt>
    <dgm:pt modelId="{5AA5A2CD-9B6E-4706-AD2B-726846A26241}" type="pres">
      <dgm:prSet presAssocID="{A7376EC0-5FEA-48A4-B284-B453C867CA4F}" presName="horzThree" presStyleCnt="0"/>
      <dgm:spPr/>
    </dgm:pt>
    <dgm:pt modelId="{3774BBD5-FDE4-40E1-B05B-37017133E0FA}" type="pres">
      <dgm:prSet presAssocID="{620F1AE9-67A6-43E4-8D4E-A7556D36F8F8}" presName="sibSpaceThree" presStyleCnt="0"/>
      <dgm:spPr/>
    </dgm:pt>
    <dgm:pt modelId="{41559B25-8C6A-464D-BF22-BE3C9F736111}" type="pres">
      <dgm:prSet presAssocID="{2292288B-8B39-49F2-9CA8-9AFCD7CDA712}" presName="vertThree" presStyleCnt="0"/>
      <dgm:spPr/>
    </dgm:pt>
    <dgm:pt modelId="{16415C91-F210-4416-A0F4-1AA0347D5471}" type="pres">
      <dgm:prSet presAssocID="{2292288B-8B39-49F2-9CA8-9AFCD7CDA712}" presName="txThree" presStyleLbl="node3" presStyleIdx="1" presStyleCnt="5" custLinFactX="-9460" custLinFactNeighborX="-100000" custLinFactNeighborY="8130">
        <dgm:presLayoutVars>
          <dgm:chPref val="3"/>
        </dgm:presLayoutVars>
      </dgm:prSet>
      <dgm:spPr/>
    </dgm:pt>
    <dgm:pt modelId="{2A95AAC2-1202-4AC2-BACF-0DA698DF7F4C}" type="pres">
      <dgm:prSet presAssocID="{2292288B-8B39-49F2-9CA8-9AFCD7CDA712}" presName="horzThree" presStyleCnt="0"/>
      <dgm:spPr/>
    </dgm:pt>
    <dgm:pt modelId="{8FF487CA-1EFE-4D30-AE1A-DA6180CF2B9F}" type="pres">
      <dgm:prSet presAssocID="{572C2FA6-B61B-4B7E-9BE2-BE1757364927}" presName="sibSpaceThree" presStyleCnt="0"/>
      <dgm:spPr/>
    </dgm:pt>
    <dgm:pt modelId="{6F748793-9F52-45C0-BB7D-F70EE9ADCD11}" type="pres">
      <dgm:prSet presAssocID="{589892E1-7E9A-4ED2-9A00-ECF59CD9E4E2}" presName="vertThree" presStyleCnt="0"/>
      <dgm:spPr/>
    </dgm:pt>
    <dgm:pt modelId="{D8A6C93A-917D-4567-B16D-E30EEE8A93BD}" type="pres">
      <dgm:prSet presAssocID="{589892E1-7E9A-4ED2-9A00-ECF59CD9E4E2}" presName="txThree" presStyleLbl="node3" presStyleIdx="2" presStyleCnt="5" custLinFactX="-9460" custLinFactNeighborX="-100000" custLinFactNeighborY="8130">
        <dgm:presLayoutVars>
          <dgm:chPref val="3"/>
        </dgm:presLayoutVars>
      </dgm:prSet>
      <dgm:spPr/>
    </dgm:pt>
    <dgm:pt modelId="{EF0B39D7-3444-41FC-AA5E-204BA04CE20B}" type="pres">
      <dgm:prSet presAssocID="{589892E1-7E9A-4ED2-9A00-ECF59CD9E4E2}" presName="horzThree" presStyleCnt="0"/>
      <dgm:spPr/>
    </dgm:pt>
    <dgm:pt modelId="{0C74B5B8-1BB4-4CC1-B901-4409ED4551A1}" type="pres">
      <dgm:prSet presAssocID="{6E27F27E-66F1-4C1C-AB5B-DE1A342F5B80}" presName="sibSpaceThree" presStyleCnt="0"/>
      <dgm:spPr/>
    </dgm:pt>
    <dgm:pt modelId="{04CFD224-47B9-4740-85C5-27869E975EBD}" type="pres">
      <dgm:prSet presAssocID="{6B9937D0-C50E-45C2-B4B1-863E69FCB5B1}" presName="vertThree" presStyleCnt="0"/>
      <dgm:spPr/>
    </dgm:pt>
    <dgm:pt modelId="{10845D90-6534-40EB-8279-CF7912BF2E6A}" type="pres">
      <dgm:prSet presAssocID="{6B9937D0-C50E-45C2-B4B1-863E69FCB5B1}" presName="txThree" presStyleLbl="node3" presStyleIdx="3" presStyleCnt="5" custLinFactX="-9460" custLinFactNeighborX="-100000" custLinFactNeighborY="8130">
        <dgm:presLayoutVars>
          <dgm:chPref val="3"/>
        </dgm:presLayoutVars>
      </dgm:prSet>
      <dgm:spPr/>
    </dgm:pt>
    <dgm:pt modelId="{54AA577C-9EA8-4070-9234-7DE01FE1F281}" type="pres">
      <dgm:prSet presAssocID="{6B9937D0-C50E-45C2-B4B1-863E69FCB5B1}" presName="horzThree" presStyleCnt="0"/>
      <dgm:spPr/>
    </dgm:pt>
    <dgm:pt modelId="{439A1615-4820-49EA-B3CF-83905D4EF337}" type="pres">
      <dgm:prSet presAssocID="{981C6366-F035-4302-9D7B-6125B4FAB462}" presName="sibSpaceThree" presStyleCnt="0"/>
      <dgm:spPr/>
    </dgm:pt>
    <dgm:pt modelId="{46B34DDF-9C3B-405B-9CAC-1D39BDBC2EEE}" type="pres">
      <dgm:prSet presAssocID="{16B3806B-317F-41B0-ABDF-7267C80EC3B2}" presName="vertThree" presStyleCnt="0"/>
      <dgm:spPr/>
    </dgm:pt>
    <dgm:pt modelId="{9A46057F-5CDA-4B57-BF6D-897D216AF86F}" type="pres">
      <dgm:prSet presAssocID="{16B3806B-317F-41B0-ABDF-7267C80EC3B2}" presName="txThree" presStyleLbl="node3" presStyleIdx="4" presStyleCnt="5" custLinFactX="-9460" custLinFactNeighborX="-100000" custLinFactNeighborY="8130">
        <dgm:presLayoutVars>
          <dgm:chPref val="3"/>
        </dgm:presLayoutVars>
      </dgm:prSet>
      <dgm:spPr/>
    </dgm:pt>
    <dgm:pt modelId="{DBC56214-4432-4434-8518-707CDC63F5BF}" type="pres">
      <dgm:prSet presAssocID="{16B3806B-317F-41B0-ABDF-7267C80EC3B2}" presName="horzThree" presStyleCnt="0"/>
      <dgm:spPr/>
    </dgm:pt>
    <dgm:pt modelId="{38DD3712-FE5D-4944-89FA-AD709564BD3A}" type="pres">
      <dgm:prSet presAssocID="{478B7D3C-9FB4-4BC6-90AC-49960560DECD}" presName="sibSpaceOne" presStyleCnt="0"/>
      <dgm:spPr/>
    </dgm:pt>
    <dgm:pt modelId="{1C4B8FF2-A5B4-46BA-942A-8A19BEE69F70}" type="pres">
      <dgm:prSet presAssocID="{6733E3A7-9EE4-4EFF-B65C-61E0B126E302}" presName="vertOne" presStyleCnt="0"/>
      <dgm:spPr/>
    </dgm:pt>
    <dgm:pt modelId="{1F321622-6935-42D4-AE83-D556256DD586}" type="pres">
      <dgm:prSet presAssocID="{6733E3A7-9EE4-4EFF-B65C-61E0B126E302}" presName="txOne" presStyleLbl="node0" presStyleIdx="1" presStyleCnt="3" custScaleY="309236" custLinFactNeighborX="-7251">
        <dgm:presLayoutVars>
          <dgm:chPref val="3"/>
        </dgm:presLayoutVars>
      </dgm:prSet>
      <dgm:spPr/>
    </dgm:pt>
    <dgm:pt modelId="{824137B6-FDCD-4837-BBD2-6FDD09327885}" type="pres">
      <dgm:prSet presAssocID="{6733E3A7-9EE4-4EFF-B65C-61E0B126E302}" presName="horzOne" presStyleCnt="0"/>
      <dgm:spPr/>
    </dgm:pt>
    <dgm:pt modelId="{ECE19E2B-8C42-4059-9124-AF3EDDEFF355}" type="pres">
      <dgm:prSet presAssocID="{C64997DC-0FAE-46D2-807A-F0C151BFA135}" presName="sibSpaceOne" presStyleCnt="0"/>
      <dgm:spPr/>
    </dgm:pt>
    <dgm:pt modelId="{915571E0-40F3-4E75-A71C-E935FB4D94B6}" type="pres">
      <dgm:prSet presAssocID="{9A65ADEB-F1B5-411F-B9AC-B64E8E60B070}" presName="vertOne" presStyleCnt="0"/>
      <dgm:spPr/>
    </dgm:pt>
    <dgm:pt modelId="{AF9421C1-0977-4165-AE01-1E0941FF1DC2}" type="pres">
      <dgm:prSet presAssocID="{9A65ADEB-F1B5-411F-B9AC-B64E8E60B070}" presName="txOne" presStyleLbl="node0" presStyleIdx="2" presStyleCnt="3" custScaleY="309153" custLinFactNeighborX="-13910" custLinFactNeighborY="-96">
        <dgm:presLayoutVars>
          <dgm:chPref val="3"/>
        </dgm:presLayoutVars>
      </dgm:prSet>
      <dgm:spPr/>
    </dgm:pt>
    <dgm:pt modelId="{870B6F6E-AE96-4262-9B4A-86C432C82D5E}" type="pres">
      <dgm:prSet presAssocID="{9A65ADEB-F1B5-411F-B9AC-B64E8E60B070}" presName="horzOne" presStyleCnt="0"/>
      <dgm:spPr/>
    </dgm:pt>
  </dgm:ptLst>
  <dgm:cxnLst>
    <dgm:cxn modelId="{1D76C90C-838C-4330-B04F-05BE873D410F}" srcId="{42D71409-67F9-455C-8C6D-716D284AAA6B}" destId="{8E346F4D-76A2-462D-9B44-3650FB2B405C}" srcOrd="0" destOrd="0" parTransId="{3F230114-3CC0-45DF-9870-044520BC28C8}" sibTransId="{0F905974-FF65-435B-B2DD-FBC8F1A908F0}"/>
    <dgm:cxn modelId="{6933AB0D-D526-4683-90E6-DBCAD5B13CA0}" srcId="{B9C32B05-62EA-407A-B21C-2310C7945705}" destId="{9A65ADEB-F1B5-411F-B9AC-B64E8E60B070}" srcOrd="2" destOrd="0" parTransId="{124EE3FC-3289-4868-83FD-BB361276B47E}" sibTransId="{80E8A97E-4D14-4268-B043-8933A19483DA}"/>
    <dgm:cxn modelId="{AC431E10-8495-40FC-AE68-1DE0241390B0}" srcId="{09BA98DE-DEC2-4D0D-8490-D3297BBF0088}" destId="{A7376EC0-5FEA-48A4-B284-B453C867CA4F}" srcOrd="0" destOrd="0" parTransId="{D8387D70-E1F9-4B42-8EE4-B3BED889F64B}" sibTransId="{620F1AE9-67A6-43E4-8D4E-A7556D36F8F8}"/>
    <dgm:cxn modelId="{5A200011-DE1C-4E4A-8F4A-4D5AD08EE3A9}" srcId="{09BA98DE-DEC2-4D0D-8490-D3297BBF0088}" destId="{16B3806B-317F-41B0-ABDF-7267C80EC3B2}" srcOrd="4" destOrd="0" parTransId="{97DC8A9B-CFD6-40D1-A1ED-398BABE06067}" sibTransId="{C1409865-ED18-41BE-9B28-662D81AEEE4F}"/>
    <dgm:cxn modelId="{9485E016-24FF-4C5B-A604-8D2C35894629}" type="presOf" srcId="{6733E3A7-9EE4-4EFF-B65C-61E0B126E302}" destId="{1F321622-6935-42D4-AE83-D556256DD586}" srcOrd="0" destOrd="0" presId="urn:microsoft.com/office/officeart/2005/8/layout/architecture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74DF5D2A-6A4D-4162-9537-4E5EFE935020}" type="presOf" srcId="{8E346F4D-76A2-462D-9B44-3650FB2B405C}" destId="{CDB456C7-FEB2-4189-8DB4-859E0B913BE7}" srcOrd="0" destOrd="0" presId="urn:microsoft.com/office/officeart/2005/8/layout/architecture"/>
    <dgm:cxn modelId="{A979BC3C-2723-4156-B3DB-C01E9A5B2FD4}" type="presOf" srcId="{42D71409-67F9-455C-8C6D-716D284AAA6B}" destId="{034D588B-2C5E-413E-8FB3-A45A598FE77E}" srcOrd="0" destOrd="0" presId="urn:microsoft.com/office/officeart/2005/8/layout/architecture"/>
    <dgm:cxn modelId="{BE1FAE48-E7FA-4B5F-B8A0-AB0218E01AAA}" type="presOf" srcId="{09BA98DE-DEC2-4D0D-8490-D3297BBF0088}" destId="{79946D67-CF20-4533-873C-9747C402A031}" srcOrd="0" destOrd="0" presId="urn:microsoft.com/office/officeart/2005/8/layout/architecture"/>
    <dgm:cxn modelId="{D3531A79-F502-4DE6-B84D-ADA7B780EF91}" type="presOf" srcId="{6B9937D0-C50E-45C2-B4B1-863E69FCB5B1}" destId="{10845D90-6534-40EB-8279-CF7912BF2E6A}" srcOrd="0" destOrd="0" presId="urn:microsoft.com/office/officeart/2005/8/layout/architecture"/>
    <dgm:cxn modelId="{8F0BC77A-97BE-4977-BDA7-D96570690F34}" srcId="{09BA98DE-DEC2-4D0D-8490-D3297BBF0088}" destId="{6B9937D0-C50E-45C2-B4B1-863E69FCB5B1}" srcOrd="3" destOrd="0" parTransId="{AEF92B5E-DA15-46F7-BACF-71FF8F3D14F0}" sibTransId="{981C6366-F035-4302-9D7B-6125B4FAB462}"/>
    <dgm:cxn modelId="{838E4390-9F55-49D4-9507-F4A284234087}" type="presOf" srcId="{9A65ADEB-F1B5-411F-B9AC-B64E8E60B070}" destId="{AF9421C1-0977-4165-AE01-1E0941FF1DC2}" srcOrd="0" destOrd="0" presId="urn:microsoft.com/office/officeart/2005/8/layout/architecture"/>
    <dgm:cxn modelId="{01735BA0-2B36-41EC-BFC0-0CCFA7ACD053}" srcId="{09BA98DE-DEC2-4D0D-8490-D3297BBF0088}" destId="{2292288B-8B39-49F2-9CA8-9AFCD7CDA712}" srcOrd="1" destOrd="0" parTransId="{01D0AB0F-E732-41F9-9D62-3B8C4434DC42}" sibTransId="{572C2FA6-B61B-4B7E-9BE2-BE1757364927}"/>
    <dgm:cxn modelId="{D68E50A4-4DE3-4F5D-92C6-F68E47329EAA}" srcId="{09BA98DE-DEC2-4D0D-8490-D3297BBF0088}" destId="{589892E1-7E9A-4ED2-9A00-ECF59CD9E4E2}" srcOrd="2" destOrd="0" parTransId="{6298D63F-CF36-4C9A-B1AF-B6EC065B8542}" sibTransId="{6E27F27E-66F1-4C1C-AB5B-DE1A342F5B80}"/>
    <dgm:cxn modelId="{0D291AB4-BEB5-4618-B81D-7B95651B289E}" type="presOf" srcId="{16B3806B-317F-41B0-ABDF-7267C80EC3B2}" destId="{9A46057F-5CDA-4B57-BF6D-897D216AF86F}" srcOrd="0" destOrd="0" presId="urn:microsoft.com/office/officeart/2005/8/layout/architecture"/>
    <dgm:cxn modelId="{29AD19C1-E3CA-4CBB-B7D5-1464D9D29FFC}" type="presOf" srcId="{B9C32B05-62EA-407A-B21C-2310C7945705}" destId="{2B2119DE-9C5F-42BD-90CA-B1F7EF735AF4}" srcOrd="0" destOrd="0" presId="urn:microsoft.com/office/officeart/2005/8/layout/architecture"/>
    <dgm:cxn modelId="{B74A69C1-DB0A-4823-ABB8-FD9F97D1DF87}" srcId="{42D71409-67F9-455C-8C6D-716D284AAA6B}" destId="{09BA98DE-DEC2-4D0D-8490-D3297BBF0088}" srcOrd="1" destOrd="0" parTransId="{8E89657A-9899-4663-8EBD-CE951A955DD5}" sibTransId="{D9604DA3-0B95-413D-AA9C-D75798C0FF52}"/>
    <dgm:cxn modelId="{C4B3FED4-3336-4139-911B-D057D16A48F5}" srcId="{B9C32B05-62EA-407A-B21C-2310C7945705}" destId="{6733E3A7-9EE4-4EFF-B65C-61E0B126E302}" srcOrd="1" destOrd="0" parTransId="{3D98FF0D-B7EB-42FA-8A0C-F97A740C5CC2}" sibTransId="{C64997DC-0FAE-46D2-807A-F0C151BFA135}"/>
    <dgm:cxn modelId="{13147EDA-6AAB-4BDB-84A1-5EBE5C2F9AC0}" type="presOf" srcId="{A7376EC0-5FEA-48A4-B284-B453C867CA4F}" destId="{7951CDCD-4F97-4CCA-8C56-4992B72B07BB}" srcOrd="0" destOrd="0" presId="urn:microsoft.com/office/officeart/2005/8/layout/architecture"/>
    <dgm:cxn modelId="{CDE785E0-C465-484D-9E57-92F491C024BB}" type="presOf" srcId="{589892E1-7E9A-4ED2-9A00-ECF59CD9E4E2}" destId="{D8A6C93A-917D-4567-B16D-E30EEE8A93BD}" srcOrd="0" destOrd="0" presId="urn:microsoft.com/office/officeart/2005/8/layout/architecture"/>
    <dgm:cxn modelId="{E9122CFC-2E55-4948-9216-106805F06521}" type="presOf" srcId="{2292288B-8B39-49F2-9CA8-9AFCD7CDA712}" destId="{16415C91-F210-4416-A0F4-1AA0347D5471}" srcOrd="0" destOrd="0" presId="urn:microsoft.com/office/officeart/2005/8/layout/architecture"/>
    <dgm:cxn modelId="{39EA7F95-4D46-4958-AC66-FB5E4923064E}" type="presParOf" srcId="{2B2119DE-9C5F-42BD-90CA-B1F7EF735AF4}" destId="{7B9E2D6A-8969-4EEC-85C2-615B86E0B196}" srcOrd="0" destOrd="0" presId="urn:microsoft.com/office/officeart/2005/8/layout/architecture"/>
    <dgm:cxn modelId="{55849938-37BC-425A-9F52-D3C2D550C45C}" type="presParOf" srcId="{7B9E2D6A-8969-4EEC-85C2-615B86E0B196}" destId="{034D588B-2C5E-413E-8FB3-A45A598FE77E}" srcOrd="0" destOrd="0" presId="urn:microsoft.com/office/officeart/2005/8/layout/architecture"/>
    <dgm:cxn modelId="{78954A11-5968-418D-8359-8E2137AE71C9}" type="presParOf" srcId="{7B9E2D6A-8969-4EEC-85C2-615B86E0B196}" destId="{155C8750-CD3F-4EED-8869-852B83F3E2B4}" srcOrd="1" destOrd="0" presId="urn:microsoft.com/office/officeart/2005/8/layout/architecture"/>
    <dgm:cxn modelId="{1D889143-CBFE-457D-B257-4536B47700D6}" type="presParOf" srcId="{7B9E2D6A-8969-4EEC-85C2-615B86E0B196}" destId="{782F8E29-E0AF-4190-B2CF-FA75DA3E0DD3}" srcOrd="2" destOrd="0" presId="urn:microsoft.com/office/officeart/2005/8/layout/architecture"/>
    <dgm:cxn modelId="{A64ABA92-BFD4-464D-A813-719DA8E4D353}" type="presParOf" srcId="{782F8E29-E0AF-4190-B2CF-FA75DA3E0DD3}" destId="{DA72A51A-2648-42DA-A6F5-1368068F74F5}" srcOrd="0" destOrd="0" presId="urn:microsoft.com/office/officeart/2005/8/layout/architecture"/>
    <dgm:cxn modelId="{AE9B9108-75CD-4962-AAB5-0150EABB791A}" type="presParOf" srcId="{DA72A51A-2648-42DA-A6F5-1368068F74F5}" destId="{CDB456C7-FEB2-4189-8DB4-859E0B913BE7}" srcOrd="0" destOrd="0" presId="urn:microsoft.com/office/officeart/2005/8/layout/architecture"/>
    <dgm:cxn modelId="{CCF17E4B-C4B8-45FC-B226-A3056C897CDB}" type="presParOf" srcId="{DA72A51A-2648-42DA-A6F5-1368068F74F5}" destId="{665A94F3-AC2E-440A-90D8-6366FA2C472B}" srcOrd="1" destOrd="0" presId="urn:microsoft.com/office/officeart/2005/8/layout/architecture"/>
    <dgm:cxn modelId="{5D750304-BC3F-4CFB-84BA-E8DEEA9CB757}" type="presParOf" srcId="{782F8E29-E0AF-4190-B2CF-FA75DA3E0DD3}" destId="{E8E6822D-8E60-479F-9744-0822855A4470}" srcOrd="1" destOrd="0" presId="urn:microsoft.com/office/officeart/2005/8/layout/architecture"/>
    <dgm:cxn modelId="{64731336-DFF0-4527-A608-DA86DC8E03B9}" type="presParOf" srcId="{782F8E29-E0AF-4190-B2CF-FA75DA3E0DD3}" destId="{1DEC18CE-0974-4E7A-AE22-5B53857D08A5}" srcOrd="2" destOrd="0" presId="urn:microsoft.com/office/officeart/2005/8/layout/architecture"/>
    <dgm:cxn modelId="{C13FB284-2F9D-4AAA-82A1-BF020F9FA761}" type="presParOf" srcId="{1DEC18CE-0974-4E7A-AE22-5B53857D08A5}" destId="{79946D67-CF20-4533-873C-9747C402A031}" srcOrd="0" destOrd="0" presId="urn:microsoft.com/office/officeart/2005/8/layout/architecture"/>
    <dgm:cxn modelId="{CC01CDF7-CDD5-4DCB-ACA0-A29F780A5428}" type="presParOf" srcId="{1DEC18CE-0974-4E7A-AE22-5B53857D08A5}" destId="{11A9DFF6-0FBF-42E2-AC9E-E9078967B9F6}" srcOrd="1" destOrd="0" presId="urn:microsoft.com/office/officeart/2005/8/layout/architecture"/>
    <dgm:cxn modelId="{D05EC6C4-F0F6-48F5-8BE8-4B6FA953FBF9}" type="presParOf" srcId="{1DEC18CE-0974-4E7A-AE22-5B53857D08A5}" destId="{B536D2A5-09A8-40A9-B9B2-95A40A490E97}" srcOrd="2" destOrd="0" presId="urn:microsoft.com/office/officeart/2005/8/layout/architecture"/>
    <dgm:cxn modelId="{5F7F3AF0-0535-400B-8519-166D66F8E2B9}" type="presParOf" srcId="{B536D2A5-09A8-40A9-B9B2-95A40A490E97}" destId="{CC689BD4-6667-4A02-BE0B-05FBA1E9DFEE}" srcOrd="0" destOrd="0" presId="urn:microsoft.com/office/officeart/2005/8/layout/architecture"/>
    <dgm:cxn modelId="{91D6E38E-B3D7-458E-8D8A-5A0AD2B8F466}" type="presParOf" srcId="{CC689BD4-6667-4A02-BE0B-05FBA1E9DFEE}" destId="{7951CDCD-4F97-4CCA-8C56-4992B72B07BB}" srcOrd="0" destOrd="0" presId="urn:microsoft.com/office/officeart/2005/8/layout/architecture"/>
    <dgm:cxn modelId="{DA797278-E2B1-4C69-80C8-1EDBFA09ADF9}" type="presParOf" srcId="{CC689BD4-6667-4A02-BE0B-05FBA1E9DFEE}" destId="{5AA5A2CD-9B6E-4706-AD2B-726846A26241}" srcOrd="1" destOrd="0" presId="urn:microsoft.com/office/officeart/2005/8/layout/architecture"/>
    <dgm:cxn modelId="{EEEA0B91-D02D-42B9-83B2-F869C774B485}" type="presParOf" srcId="{B536D2A5-09A8-40A9-B9B2-95A40A490E97}" destId="{3774BBD5-FDE4-40E1-B05B-37017133E0FA}" srcOrd="1" destOrd="0" presId="urn:microsoft.com/office/officeart/2005/8/layout/architecture"/>
    <dgm:cxn modelId="{92B2A7FE-154A-42F2-938E-01F853842220}" type="presParOf" srcId="{B536D2A5-09A8-40A9-B9B2-95A40A490E97}" destId="{41559B25-8C6A-464D-BF22-BE3C9F736111}" srcOrd="2" destOrd="0" presId="urn:microsoft.com/office/officeart/2005/8/layout/architecture"/>
    <dgm:cxn modelId="{B42CC3AE-7780-40DD-B598-8F6990D86C95}" type="presParOf" srcId="{41559B25-8C6A-464D-BF22-BE3C9F736111}" destId="{16415C91-F210-4416-A0F4-1AA0347D5471}" srcOrd="0" destOrd="0" presId="urn:microsoft.com/office/officeart/2005/8/layout/architecture"/>
    <dgm:cxn modelId="{7364F703-18B4-4A0E-A14A-401B942420E7}" type="presParOf" srcId="{41559B25-8C6A-464D-BF22-BE3C9F736111}" destId="{2A95AAC2-1202-4AC2-BACF-0DA698DF7F4C}" srcOrd="1" destOrd="0" presId="urn:microsoft.com/office/officeart/2005/8/layout/architecture"/>
    <dgm:cxn modelId="{15159FF2-9BA1-43D6-AD31-8B5C8B9E10B9}" type="presParOf" srcId="{B536D2A5-09A8-40A9-B9B2-95A40A490E97}" destId="{8FF487CA-1EFE-4D30-AE1A-DA6180CF2B9F}" srcOrd="3" destOrd="0" presId="urn:microsoft.com/office/officeart/2005/8/layout/architecture"/>
    <dgm:cxn modelId="{C90D1555-79A3-441D-881D-AF6F09919C64}" type="presParOf" srcId="{B536D2A5-09A8-40A9-B9B2-95A40A490E97}" destId="{6F748793-9F52-45C0-BB7D-F70EE9ADCD11}" srcOrd="4" destOrd="0" presId="urn:microsoft.com/office/officeart/2005/8/layout/architecture"/>
    <dgm:cxn modelId="{EA412814-F0F3-4DD2-8FDB-70F4138BC3F5}" type="presParOf" srcId="{6F748793-9F52-45C0-BB7D-F70EE9ADCD11}" destId="{D8A6C93A-917D-4567-B16D-E30EEE8A93BD}" srcOrd="0" destOrd="0" presId="urn:microsoft.com/office/officeart/2005/8/layout/architecture"/>
    <dgm:cxn modelId="{19695E5B-85F2-44C5-9399-2F1C39E3706A}" type="presParOf" srcId="{6F748793-9F52-45C0-BB7D-F70EE9ADCD11}" destId="{EF0B39D7-3444-41FC-AA5E-204BA04CE20B}" srcOrd="1" destOrd="0" presId="urn:microsoft.com/office/officeart/2005/8/layout/architecture"/>
    <dgm:cxn modelId="{4BD63E64-D669-48C9-B21C-31652BE02F5E}" type="presParOf" srcId="{B536D2A5-09A8-40A9-B9B2-95A40A490E97}" destId="{0C74B5B8-1BB4-4CC1-B901-4409ED4551A1}" srcOrd="5" destOrd="0" presId="urn:microsoft.com/office/officeart/2005/8/layout/architecture"/>
    <dgm:cxn modelId="{94B5DC0C-011E-46D5-A6BC-24B36154307C}" type="presParOf" srcId="{B536D2A5-09A8-40A9-B9B2-95A40A490E97}" destId="{04CFD224-47B9-4740-85C5-27869E975EBD}" srcOrd="6" destOrd="0" presId="urn:microsoft.com/office/officeart/2005/8/layout/architecture"/>
    <dgm:cxn modelId="{87D3EE63-EBD5-4BD4-B5E4-E8664690A2BA}" type="presParOf" srcId="{04CFD224-47B9-4740-85C5-27869E975EBD}" destId="{10845D90-6534-40EB-8279-CF7912BF2E6A}" srcOrd="0" destOrd="0" presId="urn:microsoft.com/office/officeart/2005/8/layout/architecture"/>
    <dgm:cxn modelId="{C8B58524-33B3-44F8-8BC8-1FD497DB9BCB}" type="presParOf" srcId="{04CFD224-47B9-4740-85C5-27869E975EBD}" destId="{54AA577C-9EA8-4070-9234-7DE01FE1F281}" srcOrd="1" destOrd="0" presId="urn:microsoft.com/office/officeart/2005/8/layout/architecture"/>
    <dgm:cxn modelId="{1378A4C0-FAD3-47A4-8B84-A44C84F32B0D}" type="presParOf" srcId="{B536D2A5-09A8-40A9-B9B2-95A40A490E97}" destId="{439A1615-4820-49EA-B3CF-83905D4EF337}" srcOrd="7" destOrd="0" presId="urn:microsoft.com/office/officeart/2005/8/layout/architecture"/>
    <dgm:cxn modelId="{2B77D262-955C-43A0-BE54-547A297807CC}" type="presParOf" srcId="{B536D2A5-09A8-40A9-B9B2-95A40A490E97}" destId="{46B34DDF-9C3B-405B-9CAC-1D39BDBC2EEE}" srcOrd="8" destOrd="0" presId="urn:microsoft.com/office/officeart/2005/8/layout/architecture"/>
    <dgm:cxn modelId="{3E1D2094-3E51-425A-B206-0AB1AE1050C2}" type="presParOf" srcId="{46B34DDF-9C3B-405B-9CAC-1D39BDBC2EEE}" destId="{9A46057F-5CDA-4B57-BF6D-897D216AF86F}" srcOrd="0" destOrd="0" presId="urn:microsoft.com/office/officeart/2005/8/layout/architecture"/>
    <dgm:cxn modelId="{2AC9AE11-F5A3-47A3-99FB-46E4F009958B}" type="presParOf" srcId="{46B34DDF-9C3B-405B-9CAC-1D39BDBC2EEE}" destId="{DBC56214-4432-4434-8518-707CDC63F5BF}" srcOrd="1" destOrd="0" presId="urn:microsoft.com/office/officeart/2005/8/layout/architecture"/>
    <dgm:cxn modelId="{DB4A8B43-B4BA-4E07-8074-6CB05CD4EDA6}" type="presParOf" srcId="{2B2119DE-9C5F-42BD-90CA-B1F7EF735AF4}" destId="{38DD3712-FE5D-4944-89FA-AD709564BD3A}" srcOrd="1" destOrd="0" presId="urn:microsoft.com/office/officeart/2005/8/layout/architecture"/>
    <dgm:cxn modelId="{A022927A-6581-4085-9B1E-1A1B9241A5B9}" type="presParOf" srcId="{2B2119DE-9C5F-42BD-90CA-B1F7EF735AF4}" destId="{1C4B8FF2-A5B4-46BA-942A-8A19BEE69F70}" srcOrd="2" destOrd="0" presId="urn:microsoft.com/office/officeart/2005/8/layout/architecture"/>
    <dgm:cxn modelId="{F8F4D0D2-67F7-4012-95B0-9EAC6389B7AB}" type="presParOf" srcId="{1C4B8FF2-A5B4-46BA-942A-8A19BEE69F70}" destId="{1F321622-6935-42D4-AE83-D556256DD586}" srcOrd="0" destOrd="0" presId="urn:microsoft.com/office/officeart/2005/8/layout/architecture"/>
    <dgm:cxn modelId="{CA4ADC7B-CE63-4DDF-84CA-4F8D3C8299E5}" type="presParOf" srcId="{1C4B8FF2-A5B4-46BA-942A-8A19BEE69F70}" destId="{824137B6-FDCD-4837-BBD2-6FDD09327885}" srcOrd="1" destOrd="0" presId="urn:microsoft.com/office/officeart/2005/8/layout/architecture"/>
    <dgm:cxn modelId="{6044EE94-C166-49A1-BF1D-8458B8A6AB6E}" type="presParOf" srcId="{2B2119DE-9C5F-42BD-90CA-B1F7EF735AF4}" destId="{ECE19E2B-8C42-4059-9124-AF3EDDEFF355}" srcOrd="3" destOrd="0" presId="urn:microsoft.com/office/officeart/2005/8/layout/architecture"/>
    <dgm:cxn modelId="{4306862D-A5A7-4385-B9E7-87BDA51C6F4C}" type="presParOf" srcId="{2B2119DE-9C5F-42BD-90CA-B1F7EF735AF4}" destId="{915571E0-40F3-4E75-A71C-E935FB4D94B6}" srcOrd="4" destOrd="0" presId="urn:microsoft.com/office/officeart/2005/8/layout/architecture"/>
    <dgm:cxn modelId="{8428C0B9-B4E0-44D2-926E-0600BBB39387}" type="presParOf" srcId="{915571E0-40F3-4E75-A71C-E935FB4D94B6}" destId="{AF9421C1-0977-4165-AE01-1E0941FF1DC2}" srcOrd="0" destOrd="0" presId="urn:microsoft.com/office/officeart/2005/8/layout/architecture"/>
    <dgm:cxn modelId="{DD6084D8-02F4-4A7D-8393-EF295DCC57C0}" type="presParOf" srcId="{915571E0-40F3-4E75-A71C-E935FB4D94B6}" destId="{870B6F6E-AE96-4262-9B4A-86C432C82D5E}" srcOrd="1" destOrd="0" presId="urn:microsoft.com/office/officeart/2005/8/layout/architecture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160D3D4-613A-4519-A481-F89ADD5F7320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F7E37FBC-8099-4DB3-B4F8-DBDE0DCEC1D7}">
      <dgm:prSet phldrT="[Text]" custT="1"/>
      <dgm:spPr>
        <a:solidFill>
          <a:srgbClr val="7030A0"/>
        </a:solidFill>
        <a:ln>
          <a:solidFill>
            <a:schemeClr val="tx1"/>
          </a:solidFill>
        </a:ln>
      </dgm:spPr>
      <dgm:t>
        <a:bodyPr/>
        <a:lstStyle/>
        <a:p>
          <a:br>
            <a:rPr lang="pl-PL" sz="2400" dirty="0"/>
          </a:br>
          <a:r>
            <a:rPr lang="en-US" sz="2400" dirty="0"/>
            <a:t>UI</a:t>
          </a:r>
        </a:p>
      </dgm:t>
    </dgm:pt>
    <dgm:pt modelId="{4DE24ECE-3EB3-4587-A9D2-7675F7253B81}" type="parTrans" cxnId="{523B1973-54E8-4340-8BEC-4990CC12CCAB}">
      <dgm:prSet/>
      <dgm:spPr/>
      <dgm:t>
        <a:bodyPr/>
        <a:lstStyle/>
        <a:p>
          <a:endParaRPr lang="en-US" sz="3200"/>
        </a:p>
      </dgm:t>
    </dgm:pt>
    <dgm:pt modelId="{A4184C1B-393D-4ED0-B75D-4EBB166314F0}" type="sibTrans" cxnId="{523B1973-54E8-4340-8BEC-4990CC12CCAB}">
      <dgm:prSet/>
      <dgm:spPr/>
      <dgm:t>
        <a:bodyPr/>
        <a:lstStyle/>
        <a:p>
          <a:endParaRPr lang="en-US" sz="3200"/>
        </a:p>
      </dgm:t>
    </dgm:pt>
    <dgm:pt modelId="{6ED7E280-935A-4740-AB58-C0FAE580BFA8}">
      <dgm:prSet phldrT="[Text]" custT="1"/>
      <dgm:spPr>
        <a:solidFill>
          <a:schemeClr val="accent3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400" dirty="0"/>
            <a:t>API</a:t>
          </a:r>
        </a:p>
      </dgm:t>
    </dgm:pt>
    <dgm:pt modelId="{5557C28B-0EA8-4FB7-83D5-63A8425867B0}" type="parTrans" cxnId="{C8800816-4F59-4A4E-935C-FBF3F6068543}">
      <dgm:prSet/>
      <dgm:spPr/>
      <dgm:t>
        <a:bodyPr/>
        <a:lstStyle/>
        <a:p>
          <a:endParaRPr lang="en-US" sz="3200"/>
        </a:p>
      </dgm:t>
    </dgm:pt>
    <dgm:pt modelId="{B82D1D0A-4B79-4939-A9FC-741F1AD7AD1B}" type="sibTrans" cxnId="{C8800816-4F59-4A4E-935C-FBF3F6068543}">
      <dgm:prSet/>
      <dgm:spPr/>
      <dgm:t>
        <a:bodyPr/>
        <a:lstStyle/>
        <a:p>
          <a:endParaRPr lang="en-US" sz="3200"/>
        </a:p>
      </dgm:t>
    </dgm:pt>
    <dgm:pt modelId="{40285531-BAEE-43E6-BBD4-8249575B1878}">
      <dgm:prSet phldrT="[Text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pl-PL" sz="2400" dirty="0"/>
            <a:t>BACKEND</a:t>
          </a:r>
          <a:endParaRPr lang="en-US" sz="2400" dirty="0"/>
        </a:p>
      </dgm:t>
    </dgm:pt>
    <dgm:pt modelId="{02C1CD83-DAFB-41CF-8A55-71BDDE805E6F}" type="parTrans" cxnId="{43B32424-97BD-4835-930A-AAF69C57FCAF}">
      <dgm:prSet/>
      <dgm:spPr/>
      <dgm:t>
        <a:bodyPr/>
        <a:lstStyle/>
        <a:p>
          <a:endParaRPr lang="en-US" sz="3200"/>
        </a:p>
      </dgm:t>
    </dgm:pt>
    <dgm:pt modelId="{A3A07BDC-2C6D-43A8-9A05-A9E100E8AB15}" type="sibTrans" cxnId="{43B32424-97BD-4835-930A-AAF69C57FCAF}">
      <dgm:prSet/>
      <dgm:spPr/>
      <dgm:t>
        <a:bodyPr/>
        <a:lstStyle/>
        <a:p>
          <a:endParaRPr lang="en-US" sz="3200"/>
        </a:p>
      </dgm:t>
    </dgm:pt>
    <dgm:pt modelId="{891CA3F0-A4E4-43F8-949C-180B2AB3BCFE}" type="pres">
      <dgm:prSet presAssocID="{6160D3D4-613A-4519-A481-F89ADD5F7320}" presName="Name0" presStyleCnt="0">
        <dgm:presLayoutVars>
          <dgm:dir/>
          <dgm:animLvl val="lvl"/>
          <dgm:resizeHandles val="exact"/>
        </dgm:presLayoutVars>
      </dgm:prSet>
      <dgm:spPr/>
    </dgm:pt>
    <dgm:pt modelId="{24A053E9-ED32-40AA-8B2A-BD33F0C11AE2}" type="pres">
      <dgm:prSet presAssocID="{F7E37FBC-8099-4DB3-B4F8-DBDE0DCEC1D7}" presName="Name8" presStyleCnt="0"/>
      <dgm:spPr/>
    </dgm:pt>
    <dgm:pt modelId="{9BFA4AC6-E825-4477-B889-F9C66C1195B8}" type="pres">
      <dgm:prSet presAssocID="{F7E37FBC-8099-4DB3-B4F8-DBDE0DCEC1D7}" presName="level" presStyleLbl="node1" presStyleIdx="0" presStyleCnt="3" custScaleY="66687" custLinFactNeighborX="502">
        <dgm:presLayoutVars>
          <dgm:chMax val="1"/>
          <dgm:bulletEnabled val="1"/>
        </dgm:presLayoutVars>
      </dgm:prSet>
      <dgm:spPr/>
    </dgm:pt>
    <dgm:pt modelId="{7008F9DC-B4CA-4C47-ACF8-16602824A142}" type="pres">
      <dgm:prSet presAssocID="{F7E37FBC-8099-4DB3-B4F8-DBDE0DCEC1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1F8D72-3F15-4CC5-95F4-F3EA15242490}" type="pres">
      <dgm:prSet presAssocID="{6ED7E280-935A-4740-AB58-C0FAE580BFA8}" presName="Name8" presStyleCnt="0"/>
      <dgm:spPr/>
    </dgm:pt>
    <dgm:pt modelId="{3DF1A04F-9824-4FA2-8E9B-69197A34DB02}" type="pres">
      <dgm:prSet presAssocID="{6ED7E280-935A-4740-AB58-C0FAE580BFA8}" presName="level" presStyleLbl="node1" presStyleIdx="1" presStyleCnt="3" custScaleY="63097" custLinFactNeighborX="524" custLinFactNeighborY="-713">
        <dgm:presLayoutVars>
          <dgm:chMax val="1"/>
          <dgm:bulletEnabled val="1"/>
        </dgm:presLayoutVars>
      </dgm:prSet>
      <dgm:spPr/>
    </dgm:pt>
    <dgm:pt modelId="{B615F79F-706C-4309-9FFC-D94774F354E8}" type="pres">
      <dgm:prSet presAssocID="{6ED7E280-935A-4740-AB58-C0FAE580BFA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315756-5F49-4E5C-B814-8281ACC31042}" type="pres">
      <dgm:prSet presAssocID="{40285531-BAEE-43E6-BBD4-8249575B1878}" presName="Name8" presStyleCnt="0"/>
      <dgm:spPr/>
    </dgm:pt>
    <dgm:pt modelId="{D9074314-C21A-447C-9E4D-59C6F495C412}" type="pres">
      <dgm:prSet presAssocID="{40285531-BAEE-43E6-BBD4-8249575B1878}" presName="level" presStyleLbl="node1" presStyleIdx="2" presStyleCnt="3" custScaleY="64367" custLinFactNeighborY="3926">
        <dgm:presLayoutVars>
          <dgm:chMax val="1"/>
          <dgm:bulletEnabled val="1"/>
        </dgm:presLayoutVars>
      </dgm:prSet>
      <dgm:spPr/>
    </dgm:pt>
    <dgm:pt modelId="{9A3F85C7-0AE1-424E-8646-B4248B01294E}" type="pres">
      <dgm:prSet presAssocID="{40285531-BAEE-43E6-BBD4-8249575B1878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BBE8411-3190-4A3A-B989-51C1B2947291}" type="presOf" srcId="{F7E37FBC-8099-4DB3-B4F8-DBDE0DCEC1D7}" destId="{9BFA4AC6-E825-4477-B889-F9C66C1195B8}" srcOrd="0" destOrd="0" presId="urn:microsoft.com/office/officeart/2005/8/layout/pyramid1"/>
    <dgm:cxn modelId="{C8800816-4F59-4A4E-935C-FBF3F6068543}" srcId="{6160D3D4-613A-4519-A481-F89ADD5F7320}" destId="{6ED7E280-935A-4740-AB58-C0FAE580BFA8}" srcOrd="1" destOrd="0" parTransId="{5557C28B-0EA8-4FB7-83D5-63A8425867B0}" sibTransId="{B82D1D0A-4B79-4939-A9FC-741F1AD7AD1B}"/>
    <dgm:cxn modelId="{1B795B21-46DE-4755-943C-F01105C75C15}" type="presOf" srcId="{40285531-BAEE-43E6-BBD4-8249575B1878}" destId="{D9074314-C21A-447C-9E4D-59C6F495C412}" srcOrd="0" destOrd="0" presId="urn:microsoft.com/office/officeart/2005/8/layout/pyramid1"/>
    <dgm:cxn modelId="{43B32424-97BD-4835-930A-AAF69C57FCAF}" srcId="{6160D3D4-613A-4519-A481-F89ADD5F7320}" destId="{40285531-BAEE-43E6-BBD4-8249575B1878}" srcOrd="2" destOrd="0" parTransId="{02C1CD83-DAFB-41CF-8A55-71BDDE805E6F}" sibTransId="{A3A07BDC-2C6D-43A8-9A05-A9E100E8AB15}"/>
    <dgm:cxn modelId="{B55B675F-1AC6-4E11-9CF0-F9AED92641B5}" type="presOf" srcId="{40285531-BAEE-43E6-BBD4-8249575B1878}" destId="{9A3F85C7-0AE1-424E-8646-B4248B01294E}" srcOrd="1" destOrd="0" presId="urn:microsoft.com/office/officeart/2005/8/layout/pyramid1"/>
    <dgm:cxn modelId="{523B1973-54E8-4340-8BEC-4990CC12CCAB}" srcId="{6160D3D4-613A-4519-A481-F89ADD5F7320}" destId="{F7E37FBC-8099-4DB3-B4F8-DBDE0DCEC1D7}" srcOrd="0" destOrd="0" parTransId="{4DE24ECE-3EB3-4587-A9D2-7675F7253B81}" sibTransId="{A4184C1B-393D-4ED0-B75D-4EBB166314F0}"/>
    <dgm:cxn modelId="{7470F893-7D7E-45B6-A670-AB2ACA3D5826}" type="presOf" srcId="{F7E37FBC-8099-4DB3-B4F8-DBDE0DCEC1D7}" destId="{7008F9DC-B4CA-4C47-ACF8-16602824A142}" srcOrd="1" destOrd="0" presId="urn:microsoft.com/office/officeart/2005/8/layout/pyramid1"/>
    <dgm:cxn modelId="{369F40CD-1451-46A3-9197-B631F07F4D34}" type="presOf" srcId="{6ED7E280-935A-4740-AB58-C0FAE580BFA8}" destId="{3DF1A04F-9824-4FA2-8E9B-69197A34DB02}" srcOrd="0" destOrd="0" presId="urn:microsoft.com/office/officeart/2005/8/layout/pyramid1"/>
    <dgm:cxn modelId="{338064E2-CA05-402C-B778-2BB888B9D52E}" type="presOf" srcId="{6160D3D4-613A-4519-A481-F89ADD5F7320}" destId="{891CA3F0-A4E4-43F8-949C-180B2AB3BCFE}" srcOrd="0" destOrd="0" presId="urn:microsoft.com/office/officeart/2005/8/layout/pyramid1"/>
    <dgm:cxn modelId="{63F8C2F3-CB24-433D-B098-C4D03AADA2D6}" type="presOf" srcId="{6ED7E280-935A-4740-AB58-C0FAE580BFA8}" destId="{B615F79F-706C-4309-9FFC-D94774F354E8}" srcOrd="1" destOrd="0" presId="urn:microsoft.com/office/officeart/2005/8/layout/pyramid1"/>
    <dgm:cxn modelId="{951B6FEC-DD2B-42BC-8A79-CF422BD9EFFA}" type="presParOf" srcId="{891CA3F0-A4E4-43F8-949C-180B2AB3BCFE}" destId="{24A053E9-ED32-40AA-8B2A-BD33F0C11AE2}" srcOrd="0" destOrd="0" presId="urn:microsoft.com/office/officeart/2005/8/layout/pyramid1"/>
    <dgm:cxn modelId="{B7C3F258-D632-4838-9E52-1B6E9767325C}" type="presParOf" srcId="{24A053E9-ED32-40AA-8B2A-BD33F0C11AE2}" destId="{9BFA4AC6-E825-4477-B889-F9C66C1195B8}" srcOrd="0" destOrd="0" presId="urn:microsoft.com/office/officeart/2005/8/layout/pyramid1"/>
    <dgm:cxn modelId="{53458D5B-F8AF-487B-A420-7BB925AD6C32}" type="presParOf" srcId="{24A053E9-ED32-40AA-8B2A-BD33F0C11AE2}" destId="{7008F9DC-B4CA-4C47-ACF8-16602824A142}" srcOrd="1" destOrd="0" presId="urn:microsoft.com/office/officeart/2005/8/layout/pyramid1"/>
    <dgm:cxn modelId="{571B8127-D607-4AEE-BB6F-FC06E4E97617}" type="presParOf" srcId="{891CA3F0-A4E4-43F8-949C-180B2AB3BCFE}" destId="{141F8D72-3F15-4CC5-95F4-F3EA15242490}" srcOrd="1" destOrd="0" presId="urn:microsoft.com/office/officeart/2005/8/layout/pyramid1"/>
    <dgm:cxn modelId="{95977A26-58CE-4D66-9B8D-9EDB9D4CAC50}" type="presParOf" srcId="{141F8D72-3F15-4CC5-95F4-F3EA15242490}" destId="{3DF1A04F-9824-4FA2-8E9B-69197A34DB02}" srcOrd="0" destOrd="0" presId="urn:microsoft.com/office/officeart/2005/8/layout/pyramid1"/>
    <dgm:cxn modelId="{5BFC64BE-3618-43D8-9A25-45308346F1BB}" type="presParOf" srcId="{141F8D72-3F15-4CC5-95F4-F3EA15242490}" destId="{B615F79F-706C-4309-9FFC-D94774F354E8}" srcOrd="1" destOrd="0" presId="urn:microsoft.com/office/officeart/2005/8/layout/pyramid1"/>
    <dgm:cxn modelId="{E784AAA4-333B-463A-A8C1-50E1D680DDF9}" type="presParOf" srcId="{891CA3F0-A4E4-43F8-949C-180B2AB3BCFE}" destId="{6B315756-5F49-4E5C-B814-8281ACC31042}" srcOrd="2" destOrd="0" presId="urn:microsoft.com/office/officeart/2005/8/layout/pyramid1"/>
    <dgm:cxn modelId="{FAD2DC6E-DAF8-4C98-A139-F4A09C8BE71C}" type="presParOf" srcId="{6B315756-5F49-4E5C-B814-8281ACC31042}" destId="{D9074314-C21A-447C-9E4D-59C6F495C412}" srcOrd="0" destOrd="0" presId="urn:microsoft.com/office/officeart/2005/8/layout/pyramid1"/>
    <dgm:cxn modelId="{03C408EF-023C-4948-9A09-A3CC2203B567}" type="presParOf" srcId="{6B315756-5F49-4E5C-B814-8281ACC31042}" destId="{9A3F85C7-0AE1-424E-8646-B4248B01294E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diagrams.loki3.com/VaryingWidthList" loCatId="list" qsTypeId="urn:microsoft.com/office/officeart/2005/8/quickstyle/simple4" qsCatId="simple" csTypeId="urn:microsoft.com/office/officeart/2005/8/colors/colorful1#16" csCatId="colorful" phldr="1"/>
      <dgm:spPr/>
      <dgm:t>
        <a:bodyPr/>
        <a:lstStyle/>
        <a:p>
          <a:endParaRPr lang="en-US"/>
        </a:p>
      </dgm:t>
    </dgm:pt>
    <dgm:pt modelId="{29659B7E-73C8-4D73-BBB4-67FF579EE347}">
      <dgm:prSet phldrT="[Text]"/>
      <dgm:spPr/>
      <dgm:t>
        <a:bodyPr/>
        <a:lstStyle/>
        <a:p>
          <a:r>
            <a:rPr lang="en-US" noProof="0" dirty="0">
              <a:latin typeface="Calibri" pitchFamily="34" charset="0"/>
            </a:rPr>
            <a:t>End to end project verification under one solution</a:t>
          </a:r>
        </a:p>
      </dgm:t>
    </dgm:pt>
    <dgm:pt modelId="{59C789AB-FCC8-4596-9DE8-45775EE9EBA4}" type="parTrans" cxnId="{3FAD89A8-A9A6-4966-80C5-64D7541FAAEB}">
      <dgm:prSet/>
      <dgm:spPr/>
      <dgm:t>
        <a:bodyPr/>
        <a:lstStyle/>
        <a:p>
          <a:endParaRPr lang="en-US"/>
        </a:p>
      </dgm:t>
    </dgm:pt>
    <dgm:pt modelId="{2225BB20-E867-41C6-A521-7262622AB028}" type="sibTrans" cxnId="{3FAD89A8-A9A6-4966-80C5-64D7541FAAEB}">
      <dgm:prSet/>
      <dgm:spPr/>
      <dgm:t>
        <a:bodyPr/>
        <a:lstStyle/>
        <a:p>
          <a:endParaRPr lang="en-US"/>
        </a:p>
      </dgm:t>
    </dgm:pt>
    <dgm:pt modelId="{43A54C77-C6D4-4F1A-8BF0-991B58256548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Shift left quality gates</a:t>
          </a:r>
        </a:p>
      </dgm:t>
    </dgm:pt>
    <dgm:pt modelId="{14C4A646-0671-42E4-91EE-7048373CCA78}" type="parTrans" cxnId="{A3AA6964-FF4A-4FB8-AAA6-5D6B98BC007B}">
      <dgm:prSet/>
      <dgm:spPr/>
      <dgm:t>
        <a:bodyPr/>
        <a:lstStyle/>
        <a:p>
          <a:endParaRPr lang="en-US"/>
        </a:p>
      </dgm:t>
    </dgm:pt>
    <dgm:pt modelId="{37F14FD0-5642-4099-8DEB-83690379054B}" type="sibTrans" cxnId="{A3AA6964-FF4A-4FB8-AAA6-5D6B98BC007B}">
      <dgm:prSet/>
      <dgm:spPr/>
      <dgm:t>
        <a:bodyPr/>
        <a:lstStyle/>
        <a:p>
          <a:endParaRPr lang="en-US"/>
        </a:p>
      </dgm:t>
    </dgm:pt>
    <dgm:pt modelId="{FFC945F6-AC7C-44D5-9A5D-6B3FE27B46E0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Easy to enhance</a:t>
          </a:r>
        </a:p>
      </dgm:t>
    </dgm:pt>
    <dgm:pt modelId="{0AD99E88-BF00-4DFA-8D7A-62CF9D11AE7A}" type="parTrans" cxnId="{6C39A6F0-2B8A-499B-BC02-77C0C0BE83AD}">
      <dgm:prSet/>
      <dgm:spPr/>
      <dgm:t>
        <a:bodyPr/>
        <a:lstStyle/>
        <a:p>
          <a:endParaRPr lang="en-US"/>
        </a:p>
      </dgm:t>
    </dgm:pt>
    <dgm:pt modelId="{3C7C0751-6730-4159-83CB-F2CFBBC78450}" type="sibTrans" cxnId="{6C39A6F0-2B8A-499B-BC02-77C0C0BE83AD}">
      <dgm:prSet/>
      <dgm:spPr/>
      <dgm:t>
        <a:bodyPr/>
        <a:lstStyle/>
        <a:p>
          <a:endParaRPr lang="en-US"/>
        </a:p>
      </dgm:t>
    </dgm:pt>
    <dgm:pt modelId="{FF9D9D0B-77DC-4DD1-80F0-42F1042C2EDF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Resilient and robust DevOps driven delivery</a:t>
          </a:r>
        </a:p>
      </dgm:t>
    </dgm:pt>
    <dgm:pt modelId="{DA23F403-7197-4264-8765-4FE45BF7313F}" type="parTrans" cxnId="{7E2D09B1-7EA4-475B-B1D2-A804672C0799}">
      <dgm:prSet/>
      <dgm:spPr/>
      <dgm:t>
        <a:bodyPr/>
        <a:lstStyle/>
        <a:p>
          <a:endParaRPr lang="en-US"/>
        </a:p>
      </dgm:t>
    </dgm:pt>
    <dgm:pt modelId="{B85A85E3-06A1-48C1-A2EB-EBDE3D67ABE9}" type="sibTrans" cxnId="{7E2D09B1-7EA4-475B-B1D2-A804672C0799}">
      <dgm:prSet/>
      <dgm:spPr/>
      <dgm:t>
        <a:bodyPr/>
        <a:lstStyle/>
        <a:p>
          <a:endParaRPr lang="en-US"/>
        </a:p>
      </dgm:t>
    </dgm:pt>
    <dgm:pt modelId="{D42E52B2-0E64-49AC-8F68-34BE22DAE7B2}">
      <dgm:prSet/>
      <dgm:spPr/>
      <dgm:t>
        <a:bodyPr/>
        <a:lstStyle/>
        <a:p>
          <a:r>
            <a:rPr lang="en-US" noProof="0" dirty="0">
              <a:latin typeface="Calibri" pitchFamily="34" charset="0"/>
            </a:rPr>
            <a:t>Team quality awareness</a:t>
          </a:r>
        </a:p>
      </dgm:t>
    </dgm:pt>
    <dgm:pt modelId="{4E415ACA-6D46-49BE-9F7A-35C420070AB4}" type="parTrans" cxnId="{414F32A6-11B6-4033-8442-1F7EAF28F6EA}">
      <dgm:prSet/>
      <dgm:spPr/>
      <dgm:t>
        <a:bodyPr/>
        <a:lstStyle/>
        <a:p>
          <a:endParaRPr lang="en-US"/>
        </a:p>
      </dgm:t>
    </dgm:pt>
    <dgm:pt modelId="{B90B5834-82EF-4ED9-A7D5-600E2E24442D}" type="sibTrans" cxnId="{414F32A6-11B6-4033-8442-1F7EAF28F6EA}">
      <dgm:prSet/>
      <dgm:spPr/>
      <dgm:t>
        <a:bodyPr/>
        <a:lstStyle/>
        <a:p>
          <a:endParaRPr lang="en-US"/>
        </a:p>
      </dgm:t>
    </dgm:pt>
    <dgm:pt modelId="{0C68CB87-AC2B-4DA0-9470-9E8936CA4ADE}" type="pres">
      <dgm:prSet presAssocID="{B9C32B05-62EA-407A-B21C-2310C7945705}" presName="Name0" presStyleCnt="0">
        <dgm:presLayoutVars>
          <dgm:resizeHandles/>
        </dgm:presLayoutVars>
      </dgm:prSet>
      <dgm:spPr/>
    </dgm:pt>
    <dgm:pt modelId="{4DF6F180-5625-4DF9-B524-83E6F4F007AF}" type="pres">
      <dgm:prSet presAssocID="{29659B7E-73C8-4D73-BBB4-67FF579EE347}" presName="text" presStyleLbl="node1" presStyleIdx="0" presStyleCnt="5">
        <dgm:presLayoutVars>
          <dgm:bulletEnabled val="1"/>
        </dgm:presLayoutVars>
      </dgm:prSet>
      <dgm:spPr/>
    </dgm:pt>
    <dgm:pt modelId="{611CCABF-2A92-4FCD-86F2-E0478CC544B5}" type="pres">
      <dgm:prSet presAssocID="{2225BB20-E867-41C6-A521-7262622AB028}" presName="space" presStyleCnt="0"/>
      <dgm:spPr/>
    </dgm:pt>
    <dgm:pt modelId="{5AD670EB-252B-4FE3-A0EA-136061CBCC3E}" type="pres">
      <dgm:prSet presAssocID="{FF9D9D0B-77DC-4DD1-80F0-42F1042C2EDF}" presName="text" presStyleLbl="node1" presStyleIdx="1" presStyleCnt="5">
        <dgm:presLayoutVars>
          <dgm:bulletEnabled val="1"/>
        </dgm:presLayoutVars>
      </dgm:prSet>
      <dgm:spPr/>
    </dgm:pt>
    <dgm:pt modelId="{70411A3B-6AC4-4F78-995E-1DCA5A77F546}" type="pres">
      <dgm:prSet presAssocID="{B85A85E3-06A1-48C1-A2EB-EBDE3D67ABE9}" presName="space" presStyleCnt="0"/>
      <dgm:spPr/>
    </dgm:pt>
    <dgm:pt modelId="{823A27D6-2879-4047-A15B-23CFAA50A4EF}" type="pres">
      <dgm:prSet presAssocID="{D42E52B2-0E64-49AC-8F68-34BE22DAE7B2}" presName="text" presStyleLbl="node1" presStyleIdx="2" presStyleCnt="5">
        <dgm:presLayoutVars>
          <dgm:bulletEnabled val="1"/>
        </dgm:presLayoutVars>
      </dgm:prSet>
      <dgm:spPr/>
    </dgm:pt>
    <dgm:pt modelId="{12302537-D549-426A-8023-F4B01611D029}" type="pres">
      <dgm:prSet presAssocID="{B90B5834-82EF-4ED9-A7D5-600E2E24442D}" presName="space" presStyleCnt="0"/>
      <dgm:spPr/>
    </dgm:pt>
    <dgm:pt modelId="{F5B730CA-03DF-43F2-957C-0C9C73C62D43}" type="pres">
      <dgm:prSet presAssocID="{43A54C77-C6D4-4F1A-8BF0-991B58256548}" presName="text" presStyleLbl="node1" presStyleIdx="3" presStyleCnt="5">
        <dgm:presLayoutVars>
          <dgm:bulletEnabled val="1"/>
        </dgm:presLayoutVars>
      </dgm:prSet>
      <dgm:spPr/>
    </dgm:pt>
    <dgm:pt modelId="{BA39FAF7-A058-4084-95A4-38AB1BD4C3CF}" type="pres">
      <dgm:prSet presAssocID="{37F14FD0-5642-4099-8DEB-83690379054B}" presName="space" presStyleCnt="0"/>
      <dgm:spPr/>
    </dgm:pt>
    <dgm:pt modelId="{70D54662-7F9C-4D56-9EF6-F9E084CA0955}" type="pres">
      <dgm:prSet presAssocID="{FFC945F6-AC7C-44D5-9A5D-6B3FE27B46E0}" presName="text" presStyleLbl="node1" presStyleIdx="4" presStyleCnt="5">
        <dgm:presLayoutVars>
          <dgm:bulletEnabled val="1"/>
        </dgm:presLayoutVars>
      </dgm:prSet>
      <dgm:spPr/>
    </dgm:pt>
  </dgm:ptLst>
  <dgm:cxnLst>
    <dgm:cxn modelId="{E9B2B908-66D5-48E8-AA92-BF0BAF6DAFF2}" type="presOf" srcId="{FFC945F6-AC7C-44D5-9A5D-6B3FE27B46E0}" destId="{70D54662-7F9C-4D56-9EF6-F9E084CA0955}" srcOrd="0" destOrd="0" presId="urn:diagrams.loki3.com/VaryingWidthList"/>
    <dgm:cxn modelId="{9A00FA3C-8FC9-4BDC-AB9B-1A456D74CEBC}" type="presOf" srcId="{29659B7E-73C8-4D73-BBB4-67FF579EE347}" destId="{4DF6F180-5625-4DF9-B524-83E6F4F007AF}" srcOrd="0" destOrd="0" presId="urn:diagrams.loki3.com/VaryingWidthList"/>
    <dgm:cxn modelId="{A3AA6964-FF4A-4FB8-AAA6-5D6B98BC007B}" srcId="{B9C32B05-62EA-407A-B21C-2310C7945705}" destId="{43A54C77-C6D4-4F1A-8BF0-991B58256548}" srcOrd="3" destOrd="0" parTransId="{14C4A646-0671-42E4-91EE-7048373CCA78}" sibTransId="{37F14FD0-5642-4099-8DEB-83690379054B}"/>
    <dgm:cxn modelId="{D7AE2347-4809-4421-9ED6-F8355DD755D8}" type="presOf" srcId="{B9C32B05-62EA-407A-B21C-2310C7945705}" destId="{0C68CB87-AC2B-4DA0-9470-9E8936CA4ADE}" srcOrd="0" destOrd="0" presId="urn:diagrams.loki3.com/VaryingWidthList"/>
    <dgm:cxn modelId="{16745356-C277-4782-AB24-E36AD535422D}" type="presOf" srcId="{FF9D9D0B-77DC-4DD1-80F0-42F1042C2EDF}" destId="{5AD670EB-252B-4FE3-A0EA-136061CBCC3E}" srcOrd="0" destOrd="0" presId="urn:diagrams.loki3.com/VaryingWidthList"/>
    <dgm:cxn modelId="{414F32A6-11B6-4033-8442-1F7EAF28F6EA}" srcId="{B9C32B05-62EA-407A-B21C-2310C7945705}" destId="{D42E52B2-0E64-49AC-8F68-34BE22DAE7B2}" srcOrd="2" destOrd="0" parTransId="{4E415ACA-6D46-49BE-9F7A-35C420070AB4}" sibTransId="{B90B5834-82EF-4ED9-A7D5-600E2E24442D}"/>
    <dgm:cxn modelId="{3FAD89A8-A9A6-4966-80C5-64D7541FAAEB}" srcId="{B9C32B05-62EA-407A-B21C-2310C7945705}" destId="{29659B7E-73C8-4D73-BBB4-67FF579EE347}" srcOrd="0" destOrd="0" parTransId="{59C789AB-FCC8-4596-9DE8-45775EE9EBA4}" sibTransId="{2225BB20-E867-41C6-A521-7262622AB028}"/>
    <dgm:cxn modelId="{7E2D09B1-7EA4-475B-B1D2-A804672C0799}" srcId="{B9C32B05-62EA-407A-B21C-2310C7945705}" destId="{FF9D9D0B-77DC-4DD1-80F0-42F1042C2EDF}" srcOrd="1" destOrd="0" parTransId="{DA23F403-7197-4264-8765-4FE45BF7313F}" sibTransId="{B85A85E3-06A1-48C1-A2EB-EBDE3D67ABE9}"/>
    <dgm:cxn modelId="{FE09B1D0-EB34-4D08-B5F6-D51100118257}" type="presOf" srcId="{D42E52B2-0E64-49AC-8F68-34BE22DAE7B2}" destId="{823A27D6-2879-4047-A15B-23CFAA50A4EF}" srcOrd="0" destOrd="0" presId="urn:diagrams.loki3.com/VaryingWidthList"/>
    <dgm:cxn modelId="{789763DF-C741-49A6-9AB5-A865139F2720}" type="presOf" srcId="{43A54C77-C6D4-4F1A-8BF0-991B58256548}" destId="{F5B730CA-03DF-43F2-957C-0C9C73C62D43}" srcOrd="0" destOrd="0" presId="urn:diagrams.loki3.com/VaryingWidthList"/>
    <dgm:cxn modelId="{6C39A6F0-2B8A-499B-BC02-77C0C0BE83AD}" srcId="{B9C32B05-62EA-407A-B21C-2310C7945705}" destId="{FFC945F6-AC7C-44D5-9A5D-6B3FE27B46E0}" srcOrd="4" destOrd="0" parTransId="{0AD99E88-BF00-4DFA-8D7A-62CF9D11AE7A}" sibTransId="{3C7C0751-6730-4159-83CB-F2CFBBC78450}"/>
    <dgm:cxn modelId="{E84006E7-F22E-4EE7-A148-F48DE46E40F8}" type="presParOf" srcId="{0C68CB87-AC2B-4DA0-9470-9E8936CA4ADE}" destId="{4DF6F180-5625-4DF9-B524-83E6F4F007AF}" srcOrd="0" destOrd="0" presId="urn:diagrams.loki3.com/VaryingWidthList"/>
    <dgm:cxn modelId="{65F78047-0120-4776-A999-29BFC2E1855A}" type="presParOf" srcId="{0C68CB87-AC2B-4DA0-9470-9E8936CA4ADE}" destId="{611CCABF-2A92-4FCD-86F2-E0478CC544B5}" srcOrd="1" destOrd="0" presId="urn:diagrams.loki3.com/VaryingWidthList"/>
    <dgm:cxn modelId="{EBF0D514-5FF4-4A2B-9853-EE6BF5C919DD}" type="presParOf" srcId="{0C68CB87-AC2B-4DA0-9470-9E8936CA4ADE}" destId="{5AD670EB-252B-4FE3-A0EA-136061CBCC3E}" srcOrd="2" destOrd="0" presId="urn:diagrams.loki3.com/VaryingWidthList"/>
    <dgm:cxn modelId="{219EB14C-C449-48D8-A806-D8049775C615}" type="presParOf" srcId="{0C68CB87-AC2B-4DA0-9470-9E8936CA4ADE}" destId="{70411A3B-6AC4-4F78-995E-1DCA5A77F546}" srcOrd="3" destOrd="0" presId="urn:diagrams.loki3.com/VaryingWidthList"/>
    <dgm:cxn modelId="{EF67BB25-F855-45E7-B98F-4504A86DCCFA}" type="presParOf" srcId="{0C68CB87-AC2B-4DA0-9470-9E8936CA4ADE}" destId="{823A27D6-2879-4047-A15B-23CFAA50A4EF}" srcOrd="4" destOrd="0" presId="urn:diagrams.loki3.com/VaryingWidthList"/>
    <dgm:cxn modelId="{F2E698EB-C4C9-4302-868D-C52F4E6F6318}" type="presParOf" srcId="{0C68CB87-AC2B-4DA0-9470-9E8936CA4ADE}" destId="{12302537-D549-426A-8023-F4B01611D029}" srcOrd="5" destOrd="0" presId="urn:diagrams.loki3.com/VaryingWidthList"/>
    <dgm:cxn modelId="{6BE06AC2-0429-4DCB-B807-C084B30B0917}" type="presParOf" srcId="{0C68CB87-AC2B-4DA0-9470-9E8936CA4ADE}" destId="{F5B730CA-03DF-43F2-957C-0C9C73C62D43}" srcOrd="6" destOrd="0" presId="urn:diagrams.loki3.com/VaryingWidthList"/>
    <dgm:cxn modelId="{9940FE5A-55EA-46F2-99E4-797304EDAE18}" type="presParOf" srcId="{0C68CB87-AC2B-4DA0-9470-9E8936CA4ADE}" destId="{BA39FAF7-A058-4084-95A4-38AB1BD4C3CF}" srcOrd="7" destOrd="0" presId="urn:diagrams.loki3.com/VaryingWidthList"/>
    <dgm:cxn modelId="{D79C8D45-DDE7-4CDC-BA15-6A625AF1DD63}" type="presParOf" srcId="{0C68CB87-AC2B-4DA0-9470-9E8936CA4ADE}" destId="{70D54662-7F9C-4D56-9EF6-F9E084CA0955}" srcOrd="8" destOrd="0" presId="urn:diagrams.loki3.com/VaryingWidth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F740A5E-0832-4BFA-B3EF-E90F4C281312}" type="doc">
      <dgm:prSet loTypeId="urn:microsoft.com/office/officeart/2005/8/layout/process5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66FD72C-FE4C-4F2A-AAFD-982536D57E4A}">
      <dgm:prSet phldrT="[Text]"/>
      <dgm:spPr/>
      <dgm:t>
        <a:bodyPr/>
        <a:lstStyle/>
        <a:p>
          <a:r>
            <a:rPr lang="en-US" noProof="0"/>
            <a:t>Core functions</a:t>
          </a:r>
        </a:p>
      </dgm:t>
    </dgm:pt>
    <dgm:pt modelId="{C0420F1E-D453-48AE-BCEA-8837E474AA6C}" type="parTrans" cxnId="{6AB1BDBC-2A1F-45A6-A0CB-DA646D31AB8D}">
      <dgm:prSet/>
      <dgm:spPr/>
      <dgm:t>
        <a:bodyPr/>
        <a:lstStyle/>
        <a:p>
          <a:endParaRPr lang="en-US"/>
        </a:p>
      </dgm:t>
    </dgm:pt>
    <dgm:pt modelId="{F18010FB-0FA1-4246-9BBA-AC5E9E8240F0}" type="sibTrans" cxnId="{6AB1BDBC-2A1F-45A6-A0CB-DA646D31AB8D}">
      <dgm:prSet/>
      <dgm:spPr/>
      <dgm:t>
        <a:bodyPr/>
        <a:lstStyle/>
        <a:p>
          <a:endParaRPr lang="en-US" noProof="0"/>
        </a:p>
      </dgm:t>
    </dgm:pt>
    <dgm:pt modelId="{86D3B755-2116-4FCB-86D7-5638AE0A9411}">
      <dgm:prSet phldrT="[Text]"/>
      <dgm:spPr/>
      <dgm:t>
        <a:bodyPr/>
        <a:lstStyle/>
        <a:p>
          <a:r>
            <a:rPr lang="en-US" noProof="0"/>
            <a:t>UI test module</a:t>
          </a:r>
        </a:p>
      </dgm:t>
    </dgm:pt>
    <dgm:pt modelId="{48736CAA-3293-4537-9D48-65FBF229A891}" type="parTrans" cxnId="{75FF9158-141C-4328-B42B-4C785E541C99}">
      <dgm:prSet/>
      <dgm:spPr/>
      <dgm:t>
        <a:bodyPr/>
        <a:lstStyle/>
        <a:p>
          <a:endParaRPr lang="en-US"/>
        </a:p>
      </dgm:t>
    </dgm:pt>
    <dgm:pt modelId="{11E0418D-FB4D-4534-BC83-97BC1435D761}" type="sibTrans" cxnId="{75FF9158-141C-4328-B42B-4C785E541C99}">
      <dgm:prSet/>
      <dgm:spPr/>
      <dgm:t>
        <a:bodyPr/>
        <a:lstStyle/>
        <a:p>
          <a:endParaRPr lang="en-US" noProof="0"/>
        </a:p>
      </dgm:t>
    </dgm:pt>
    <dgm:pt modelId="{1D6214EF-7D85-4F2D-8C6F-A08282EB1DB0}">
      <dgm:prSet phldrT="[Text]"/>
      <dgm:spPr/>
      <dgm:t>
        <a:bodyPr/>
        <a:lstStyle/>
        <a:p>
          <a:r>
            <a:rPr lang="en-US" noProof="0"/>
            <a:t>WebAPI test module</a:t>
          </a:r>
        </a:p>
      </dgm:t>
    </dgm:pt>
    <dgm:pt modelId="{73C02B02-620D-4E71-8697-6C2F8BC5B794}" type="parTrans" cxnId="{CB5EF6AC-B469-4B53-90BF-2E9FAEDA6B81}">
      <dgm:prSet/>
      <dgm:spPr/>
      <dgm:t>
        <a:bodyPr/>
        <a:lstStyle/>
        <a:p>
          <a:endParaRPr lang="en-US"/>
        </a:p>
      </dgm:t>
    </dgm:pt>
    <dgm:pt modelId="{9D7F282E-B367-457A-B549-4C1DE7CEB346}" type="sibTrans" cxnId="{CB5EF6AC-B469-4B53-90BF-2E9FAEDA6B81}">
      <dgm:prSet/>
      <dgm:spPr/>
      <dgm:t>
        <a:bodyPr/>
        <a:lstStyle/>
        <a:p>
          <a:endParaRPr lang="en-US" noProof="0"/>
        </a:p>
      </dgm:t>
    </dgm:pt>
    <dgm:pt modelId="{F63CBD12-05A1-4F2D-8B90-163F9A71A892}">
      <dgm:prSet phldrT="[Text]"/>
      <dgm:spPr/>
      <dgm:t>
        <a:bodyPr/>
        <a:lstStyle/>
        <a:p>
          <a:r>
            <a:rPr lang="en-US" noProof="0"/>
            <a:t>Database test module</a:t>
          </a:r>
        </a:p>
      </dgm:t>
    </dgm:pt>
    <dgm:pt modelId="{C6A5CC92-810F-4BFB-B8FA-E4C0E203DF91}" type="parTrans" cxnId="{DCC8873E-581F-458D-AAB8-1B4FE83B82F4}">
      <dgm:prSet/>
      <dgm:spPr/>
      <dgm:t>
        <a:bodyPr/>
        <a:lstStyle/>
        <a:p>
          <a:endParaRPr lang="en-US"/>
        </a:p>
      </dgm:t>
    </dgm:pt>
    <dgm:pt modelId="{422B5B5A-B35D-43B0-92B8-03A5725B9802}" type="sibTrans" cxnId="{DCC8873E-581F-458D-AAB8-1B4FE83B82F4}">
      <dgm:prSet/>
      <dgm:spPr/>
      <dgm:t>
        <a:bodyPr/>
        <a:lstStyle/>
        <a:p>
          <a:endParaRPr lang="en-US" noProof="0"/>
        </a:p>
      </dgm:t>
    </dgm:pt>
    <dgm:pt modelId="{E8D226DA-465E-4531-9DA8-D02FEF181F4D}">
      <dgm:prSet phldrT="[Text]"/>
      <dgm:spPr/>
      <dgm:t>
        <a:bodyPr/>
        <a:lstStyle/>
        <a:p>
          <a:r>
            <a:rPr lang="en-US" noProof="0" dirty="0"/>
            <a:t>Mobile App test module *</a:t>
          </a:r>
        </a:p>
      </dgm:t>
    </dgm:pt>
    <dgm:pt modelId="{844439EC-C30E-4A6E-9842-5EC6EA52D03D}" type="parTrans" cxnId="{890981FE-F86E-4DDA-A532-5E1131167F3A}">
      <dgm:prSet/>
      <dgm:spPr/>
      <dgm:t>
        <a:bodyPr/>
        <a:lstStyle/>
        <a:p>
          <a:endParaRPr lang="en-US"/>
        </a:p>
      </dgm:t>
    </dgm:pt>
    <dgm:pt modelId="{72D49C8E-0275-4333-A3A1-5D18C5E2FE06}" type="sibTrans" cxnId="{890981FE-F86E-4DDA-A532-5E1131167F3A}">
      <dgm:prSet/>
      <dgm:spPr/>
      <dgm:t>
        <a:bodyPr/>
        <a:lstStyle/>
        <a:p>
          <a:endParaRPr lang="en-US" noProof="0"/>
        </a:p>
      </dgm:t>
    </dgm:pt>
    <dgm:pt modelId="{A08E5205-0536-4D6C-928F-0960762E2A82}">
      <dgm:prSet phldrT="[Text]"/>
      <dgm:spPr/>
      <dgm:t>
        <a:bodyPr/>
        <a:lstStyle/>
        <a:p>
          <a:r>
            <a:rPr lang="en-US" noProof="0"/>
            <a:t>Mobile Grid infrastructure *</a:t>
          </a:r>
        </a:p>
      </dgm:t>
    </dgm:pt>
    <dgm:pt modelId="{058B8E1D-3418-48EE-8FF9-86D1865D1425}" type="parTrans" cxnId="{85AE2F1A-2C34-4B24-9A18-15EC30BC3EB9}">
      <dgm:prSet/>
      <dgm:spPr/>
      <dgm:t>
        <a:bodyPr/>
        <a:lstStyle/>
        <a:p>
          <a:endParaRPr lang="en-US"/>
        </a:p>
      </dgm:t>
    </dgm:pt>
    <dgm:pt modelId="{0E7B6A86-A626-4616-9DD9-71D34B1E2B5F}" type="sibTrans" cxnId="{85AE2F1A-2C34-4B24-9A18-15EC30BC3EB9}">
      <dgm:prSet/>
      <dgm:spPr/>
      <dgm:t>
        <a:bodyPr/>
        <a:lstStyle/>
        <a:p>
          <a:endParaRPr lang="en-US" noProof="0"/>
        </a:p>
      </dgm:t>
    </dgm:pt>
    <dgm:pt modelId="{BC13E727-E63D-4B7C-AD32-C27081E8C99A}">
      <dgm:prSet phldrT="[Text]"/>
      <dgm:spPr/>
      <dgm:t>
        <a:bodyPr/>
        <a:lstStyle/>
        <a:p>
          <a:r>
            <a:rPr lang="en-US" noProof="0"/>
            <a:t>Security test module </a:t>
          </a:r>
        </a:p>
      </dgm:t>
    </dgm:pt>
    <dgm:pt modelId="{B7C844D9-7C81-4BDA-B5F6-EDF5437FE0FA}" type="parTrans" cxnId="{036AEE68-410B-4C3C-A9C5-3422D150B0B1}">
      <dgm:prSet/>
      <dgm:spPr/>
      <dgm:t>
        <a:bodyPr/>
        <a:lstStyle/>
        <a:p>
          <a:endParaRPr lang="en-US"/>
        </a:p>
      </dgm:t>
    </dgm:pt>
    <dgm:pt modelId="{8A518B22-4A55-4EBD-BAF8-87773A3EB2F7}" type="sibTrans" cxnId="{036AEE68-410B-4C3C-A9C5-3422D150B0B1}">
      <dgm:prSet/>
      <dgm:spPr/>
      <dgm:t>
        <a:bodyPr/>
        <a:lstStyle/>
        <a:p>
          <a:endParaRPr lang="en-US" noProof="0"/>
        </a:p>
      </dgm:t>
    </dgm:pt>
    <dgm:pt modelId="{9331F141-308C-449A-A949-017D75983EC6}">
      <dgm:prSet phldrT="[Text]"/>
      <dgm:spPr/>
      <dgm:t>
        <a:bodyPr/>
        <a:lstStyle/>
        <a:p>
          <a:r>
            <a:rPr lang="en-US" noProof="0"/>
            <a:t>Selenium Grid infrastructure</a:t>
          </a:r>
        </a:p>
      </dgm:t>
    </dgm:pt>
    <dgm:pt modelId="{E5F0EC05-CECC-43CC-81F7-B4E3B59282A6}" type="parTrans" cxnId="{DD844412-3C37-4438-A452-D0477CF5F37C}">
      <dgm:prSet/>
      <dgm:spPr/>
      <dgm:t>
        <a:bodyPr/>
        <a:lstStyle/>
        <a:p>
          <a:endParaRPr lang="en-US"/>
        </a:p>
      </dgm:t>
    </dgm:pt>
    <dgm:pt modelId="{8CCFCCE1-D3F4-44C7-9D85-99CE917B13E1}" type="sibTrans" cxnId="{DD844412-3C37-4438-A452-D0477CF5F37C}">
      <dgm:prSet/>
      <dgm:spPr/>
      <dgm:t>
        <a:bodyPr/>
        <a:lstStyle/>
        <a:p>
          <a:endParaRPr lang="en-US" noProof="0"/>
        </a:p>
      </dgm:t>
    </dgm:pt>
    <dgm:pt modelId="{067D0865-9C47-4E1E-BD6A-DC0298066685}">
      <dgm:prSet phldrT="[Text]"/>
      <dgm:spPr/>
      <dgm:t>
        <a:bodyPr/>
        <a:lstStyle/>
        <a:p>
          <a:r>
            <a:rPr lang="en-US" noProof="0"/>
            <a:t>DevOps infrastructure</a:t>
          </a:r>
        </a:p>
      </dgm:t>
    </dgm:pt>
    <dgm:pt modelId="{CB8B5685-CF0E-46C4-94AD-E0FD3977449C}" type="parTrans" cxnId="{51EB298B-BA73-4FCA-AC57-12B84CD78C4B}">
      <dgm:prSet/>
      <dgm:spPr/>
      <dgm:t>
        <a:bodyPr/>
        <a:lstStyle/>
        <a:p>
          <a:endParaRPr lang="en-US"/>
        </a:p>
      </dgm:t>
    </dgm:pt>
    <dgm:pt modelId="{15DAE321-A151-40F9-8CB7-092ED55F28D8}" type="sibTrans" cxnId="{51EB298B-BA73-4FCA-AC57-12B84CD78C4B}">
      <dgm:prSet/>
      <dgm:spPr/>
      <dgm:t>
        <a:bodyPr/>
        <a:lstStyle/>
        <a:p>
          <a:endParaRPr lang="en-US" noProof="0"/>
        </a:p>
      </dgm:t>
    </dgm:pt>
    <dgm:pt modelId="{BD9E5084-DEBC-4D24-B57A-9816E694986E}">
      <dgm:prSet phldrT="[Text]"/>
      <dgm:spPr/>
      <dgm:t>
        <a:bodyPr/>
        <a:lstStyle/>
        <a:p>
          <a:r>
            <a:rPr lang="en-US" noProof="0" dirty="0"/>
            <a:t>Standalone app test module *</a:t>
          </a:r>
        </a:p>
      </dgm:t>
    </dgm:pt>
    <dgm:pt modelId="{08F87C5F-0045-4085-9AC4-AB68DF4E1C5A}" type="parTrans" cxnId="{B3F2C7E3-8914-4A52-8D17-F4A900EC3D88}">
      <dgm:prSet/>
      <dgm:spPr/>
      <dgm:t>
        <a:bodyPr/>
        <a:lstStyle/>
        <a:p>
          <a:endParaRPr lang="en-US"/>
        </a:p>
      </dgm:t>
    </dgm:pt>
    <dgm:pt modelId="{1A5E481E-3EDE-46F9-A524-B754DA0597B0}" type="sibTrans" cxnId="{B3F2C7E3-8914-4A52-8D17-F4A900EC3D88}">
      <dgm:prSet/>
      <dgm:spPr/>
      <dgm:t>
        <a:bodyPr/>
        <a:lstStyle/>
        <a:p>
          <a:endParaRPr lang="en-US"/>
        </a:p>
      </dgm:t>
    </dgm:pt>
    <dgm:pt modelId="{F2E921E6-9A89-4836-92A4-4240A1679A67}" type="pres">
      <dgm:prSet presAssocID="{3F740A5E-0832-4BFA-B3EF-E90F4C281312}" presName="diagram" presStyleCnt="0">
        <dgm:presLayoutVars>
          <dgm:dir/>
          <dgm:resizeHandles val="exact"/>
        </dgm:presLayoutVars>
      </dgm:prSet>
      <dgm:spPr/>
    </dgm:pt>
    <dgm:pt modelId="{C233EA99-C4F0-4BCC-8226-7A7A21589F6E}" type="pres">
      <dgm:prSet presAssocID="{466FD72C-FE4C-4F2A-AAFD-982536D57E4A}" presName="node" presStyleLbl="node1" presStyleIdx="0" presStyleCnt="10">
        <dgm:presLayoutVars>
          <dgm:bulletEnabled val="1"/>
        </dgm:presLayoutVars>
      </dgm:prSet>
      <dgm:spPr/>
    </dgm:pt>
    <dgm:pt modelId="{1D85CC6C-4D09-4F02-949B-CFDF45A15DF9}" type="pres">
      <dgm:prSet presAssocID="{F18010FB-0FA1-4246-9BBA-AC5E9E8240F0}" presName="sibTrans" presStyleLbl="sibTrans2D1" presStyleIdx="0" presStyleCnt="9"/>
      <dgm:spPr/>
    </dgm:pt>
    <dgm:pt modelId="{DF30CAEE-C744-4FEB-AC76-5A26AAEDE5C8}" type="pres">
      <dgm:prSet presAssocID="{F18010FB-0FA1-4246-9BBA-AC5E9E8240F0}" presName="connectorText" presStyleLbl="sibTrans2D1" presStyleIdx="0" presStyleCnt="9"/>
      <dgm:spPr/>
    </dgm:pt>
    <dgm:pt modelId="{058D7507-BCDD-4864-9F57-7A20C2AEDD25}" type="pres">
      <dgm:prSet presAssocID="{86D3B755-2116-4FCB-86D7-5638AE0A9411}" presName="node" presStyleLbl="node1" presStyleIdx="1" presStyleCnt="10">
        <dgm:presLayoutVars>
          <dgm:bulletEnabled val="1"/>
        </dgm:presLayoutVars>
      </dgm:prSet>
      <dgm:spPr/>
    </dgm:pt>
    <dgm:pt modelId="{6C5F7890-C0EF-450D-812D-C036E762566E}" type="pres">
      <dgm:prSet presAssocID="{11E0418D-FB4D-4534-BC83-97BC1435D761}" presName="sibTrans" presStyleLbl="sibTrans2D1" presStyleIdx="1" presStyleCnt="9"/>
      <dgm:spPr/>
    </dgm:pt>
    <dgm:pt modelId="{B1DC27BC-EB4A-4E38-A4C8-9933F30ABC24}" type="pres">
      <dgm:prSet presAssocID="{11E0418D-FB4D-4534-BC83-97BC1435D761}" presName="connectorText" presStyleLbl="sibTrans2D1" presStyleIdx="1" presStyleCnt="9"/>
      <dgm:spPr/>
    </dgm:pt>
    <dgm:pt modelId="{31B266D5-CC0F-4F39-9E86-C4D7551C666F}" type="pres">
      <dgm:prSet presAssocID="{9331F141-308C-449A-A949-017D75983EC6}" presName="node" presStyleLbl="node1" presStyleIdx="2" presStyleCnt="10">
        <dgm:presLayoutVars>
          <dgm:bulletEnabled val="1"/>
        </dgm:presLayoutVars>
      </dgm:prSet>
      <dgm:spPr/>
    </dgm:pt>
    <dgm:pt modelId="{C3286939-E59D-44D4-BAA8-E9AE958BF233}" type="pres">
      <dgm:prSet presAssocID="{8CCFCCE1-D3F4-44C7-9D85-99CE917B13E1}" presName="sibTrans" presStyleLbl="sibTrans2D1" presStyleIdx="2" presStyleCnt="9"/>
      <dgm:spPr/>
    </dgm:pt>
    <dgm:pt modelId="{FBA16223-C175-4F58-9D05-15D8BDE6FFFF}" type="pres">
      <dgm:prSet presAssocID="{8CCFCCE1-D3F4-44C7-9D85-99CE917B13E1}" presName="connectorText" presStyleLbl="sibTrans2D1" presStyleIdx="2" presStyleCnt="9"/>
      <dgm:spPr/>
    </dgm:pt>
    <dgm:pt modelId="{14EEA9FE-19D0-4D2E-A9AA-082BD21386D1}" type="pres">
      <dgm:prSet presAssocID="{067D0865-9C47-4E1E-BD6A-DC0298066685}" presName="node" presStyleLbl="node1" presStyleIdx="3" presStyleCnt="10">
        <dgm:presLayoutVars>
          <dgm:bulletEnabled val="1"/>
        </dgm:presLayoutVars>
      </dgm:prSet>
      <dgm:spPr/>
    </dgm:pt>
    <dgm:pt modelId="{6F9B85EF-A4BC-415B-9B57-65BA4589DECC}" type="pres">
      <dgm:prSet presAssocID="{15DAE321-A151-40F9-8CB7-092ED55F28D8}" presName="sibTrans" presStyleLbl="sibTrans2D1" presStyleIdx="3" presStyleCnt="9"/>
      <dgm:spPr/>
    </dgm:pt>
    <dgm:pt modelId="{3A0397E9-FDF5-4783-AC3C-0F4F98CAD412}" type="pres">
      <dgm:prSet presAssocID="{15DAE321-A151-40F9-8CB7-092ED55F28D8}" presName="connectorText" presStyleLbl="sibTrans2D1" presStyleIdx="3" presStyleCnt="9"/>
      <dgm:spPr/>
    </dgm:pt>
    <dgm:pt modelId="{0AF30173-A7D1-44E2-A9A5-B5C144A146D4}" type="pres">
      <dgm:prSet presAssocID="{1D6214EF-7D85-4F2D-8C6F-A08282EB1DB0}" presName="node" presStyleLbl="node1" presStyleIdx="4" presStyleCnt="10">
        <dgm:presLayoutVars>
          <dgm:bulletEnabled val="1"/>
        </dgm:presLayoutVars>
      </dgm:prSet>
      <dgm:spPr/>
    </dgm:pt>
    <dgm:pt modelId="{14C1A7AB-122F-4FD0-8E6F-D988D1BA95C5}" type="pres">
      <dgm:prSet presAssocID="{9D7F282E-B367-457A-B549-4C1DE7CEB346}" presName="sibTrans" presStyleLbl="sibTrans2D1" presStyleIdx="4" presStyleCnt="9"/>
      <dgm:spPr/>
    </dgm:pt>
    <dgm:pt modelId="{4A26F13C-AE3D-40AE-BA35-B58657BEF558}" type="pres">
      <dgm:prSet presAssocID="{9D7F282E-B367-457A-B549-4C1DE7CEB346}" presName="connectorText" presStyleLbl="sibTrans2D1" presStyleIdx="4" presStyleCnt="9"/>
      <dgm:spPr/>
    </dgm:pt>
    <dgm:pt modelId="{F554B1C5-C7A1-4BF6-B363-782DA6818C2F}" type="pres">
      <dgm:prSet presAssocID="{BC13E727-E63D-4B7C-AD32-C27081E8C99A}" presName="node" presStyleLbl="node1" presStyleIdx="5" presStyleCnt="10">
        <dgm:presLayoutVars>
          <dgm:bulletEnabled val="1"/>
        </dgm:presLayoutVars>
      </dgm:prSet>
      <dgm:spPr/>
    </dgm:pt>
    <dgm:pt modelId="{C77C49A8-68BF-4AAB-A60B-EB10560A6ADB}" type="pres">
      <dgm:prSet presAssocID="{8A518B22-4A55-4EBD-BAF8-87773A3EB2F7}" presName="sibTrans" presStyleLbl="sibTrans2D1" presStyleIdx="5" presStyleCnt="9"/>
      <dgm:spPr/>
    </dgm:pt>
    <dgm:pt modelId="{311BEEB7-9EDC-4219-87C7-3D8357F5EE19}" type="pres">
      <dgm:prSet presAssocID="{8A518B22-4A55-4EBD-BAF8-87773A3EB2F7}" presName="connectorText" presStyleLbl="sibTrans2D1" presStyleIdx="5" presStyleCnt="9"/>
      <dgm:spPr/>
    </dgm:pt>
    <dgm:pt modelId="{BFBE5DC6-39B6-4059-8677-75468E76C775}" type="pres">
      <dgm:prSet presAssocID="{F63CBD12-05A1-4F2D-8B90-163F9A71A892}" presName="node" presStyleLbl="node1" presStyleIdx="6" presStyleCnt="10">
        <dgm:presLayoutVars>
          <dgm:bulletEnabled val="1"/>
        </dgm:presLayoutVars>
      </dgm:prSet>
      <dgm:spPr/>
    </dgm:pt>
    <dgm:pt modelId="{F5DD41C5-BEC0-496C-B294-5B8E97919EB3}" type="pres">
      <dgm:prSet presAssocID="{422B5B5A-B35D-43B0-92B8-03A5725B9802}" presName="sibTrans" presStyleLbl="sibTrans2D1" presStyleIdx="6" presStyleCnt="9"/>
      <dgm:spPr/>
    </dgm:pt>
    <dgm:pt modelId="{1986A502-4788-4007-BDCA-E4C8FA80FCE7}" type="pres">
      <dgm:prSet presAssocID="{422B5B5A-B35D-43B0-92B8-03A5725B9802}" presName="connectorText" presStyleLbl="sibTrans2D1" presStyleIdx="6" presStyleCnt="9"/>
      <dgm:spPr/>
    </dgm:pt>
    <dgm:pt modelId="{9E0E1EBA-90BA-463B-8AC4-02C81721497A}" type="pres">
      <dgm:prSet presAssocID="{E8D226DA-465E-4531-9DA8-D02FEF181F4D}" presName="node" presStyleLbl="node1" presStyleIdx="7" presStyleCnt="10">
        <dgm:presLayoutVars>
          <dgm:bulletEnabled val="1"/>
        </dgm:presLayoutVars>
      </dgm:prSet>
      <dgm:spPr/>
    </dgm:pt>
    <dgm:pt modelId="{96155ACE-FBE8-4038-A495-9DB96465F4E4}" type="pres">
      <dgm:prSet presAssocID="{72D49C8E-0275-4333-A3A1-5D18C5E2FE06}" presName="sibTrans" presStyleLbl="sibTrans2D1" presStyleIdx="7" presStyleCnt="9" custAng="414785"/>
      <dgm:spPr/>
    </dgm:pt>
    <dgm:pt modelId="{3B985ADF-CE05-4859-86D8-B78C56975A4E}" type="pres">
      <dgm:prSet presAssocID="{72D49C8E-0275-4333-A3A1-5D18C5E2FE06}" presName="connectorText" presStyleLbl="sibTrans2D1" presStyleIdx="7" presStyleCnt="9"/>
      <dgm:spPr/>
    </dgm:pt>
    <dgm:pt modelId="{1A4C39AA-79E3-4D97-954A-3F2164F60A65}" type="pres">
      <dgm:prSet presAssocID="{A08E5205-0536-4D6C-928F-0960762E2A82}" presName="node" presStyleLbl="node1" presStyleIdx="8" presStyleCnt="10" custScaleX="124249">
        <dgm:presLayoutVars>
          <dgm:bulletEnabled val="1"/>
        </dgm:presLayoutVars>
      </dgm:prSet>
      <dgm:spPr/>
    </dgm:pt>
    <dgm:pt modelId="{940D40E0-1488-41D2-88A1-1D2A9C85C918}" type="pres">
      <dgm:prSet presAssocID="{0E7B6A86-A626-4616-9DD9-71D34B1E2B5F}" presName="sibTrans" presStyleLbl="sibTrans2D1" presStyleIdx="8" presStyleCnt="9"/>
      <dgm:spPr/>
    </dgm:pt>
    <dgm:pt modelId="{70296DAF-BA57-4788-927A-614606067ACC}" type="pres">
      <dgm:prSet presAssocID="{0E7B6A86-A626-4616-9DD9-71D34B1E2B5F}" presName="connectorText" presStyleLbl="sibTrans2D1" presStyleIdx="8" presStyleCnt="9"/>
      <dgm:spPr/>
    </dgm:pt>
    <dgm:pt modelId="{79992BBD-B051-4FAF-B5B8-77FA3B6235DC}" type="pres">
      <dgm:prSet presAssocID="{BD9E5084-DEBC-4D24-B57A-9816E694986E}" presName="node" presStyleLbl="node1" presStyleIdx="9" presStyleCnt="10">
        <dgm:presLayoutVars>
          <dgm:bulletEnabled val="1"/>
        </dgm:presLayoutVars>
      </dgm:prSet>
      <dgm:spPr/>
    </dgm:pt>
  </dgm:ptLst>
  <dgm:cxnLst>
    <dgm:cxn modelId="{EB7C0900-8CD2-49D9-A7BC-871C3B533EA1}" type="presOf" srcId="{8A518B22-4A55-4EBD-BAF8-87773A3EB2F7}" destId="{C77C49A8-68BF-4AAB-A60B-EB10560A6ADB}" srcOrd="0" destOrd="0" presId="urn:microsoft.com/office/officeart/2005/8/layout/process5"/>
    <dgm:cxn modelId="{DD844412-3C37-4438-A452-D0477CF5F37C}" srcId="{3F740A5E-0832-4BFA-B3EF-E90F4C281312}" destId="{9331F141-308C-449A-A949-017D75983EC6}" srcOrd="2" destOrd="0" parTransId="{E5F0EC05-CECC-43CC-81F7-B4E3B59282A6}" sibTransId="{8CCFCCE1-D3F4-44C7-9D85-99CE917B13E1}"/>
    <dgm:cxn modelId="{1329F917-655F-4866-A923-2BEE16AFBD4A}" type="presOf" srcId="{E8D226DA-465E-4531-9DA8-D02FEF181F4D}" destId="{9E0E1EBA-90BA-463B-8AC4-02C81721497A}" srcOrd="0" destOrd="0" presId="urn:microsoft.com/office/officeart/2005/8/layout/process5"/>
    <dgm:cxn modelId="{85AE2F1A-2C34-4B24-9A18-15EC30BC3EB9}" srcId="{3F740A5E-0832-4BFA-B3EF-E90F4C281312}" destId="{A08E5205-0536-4D6C-928F-0960762E2A82}" srcOrd="8" destOrd="0" parTransId="{058B8E1D-3418-48EE-8FF9-86D1865D1425}" sibTransId="{0E7B6A86-A626-4616-9DD9-71D34B1E2B5F}"/>
    <dgm:cxn modelId="{2F438927-6CD2-4905-BA99-0C96DB42C408}" type="presOf" srcId="{422B5B5A-B35D-43B0-92B8-03A5725B9802}" destId="{1986A502-4788-4007-BDCA-E4C8FA80FCE7}" srcOrd="1" destOrd="0" presId="urn:microsoft.com/office/officeart/2005/8/layout/process5"/>
    <dgm:cxn modelId="{C8C16A32-A3BF-42BD-97CE-95FDD986AB7A}" type="presOf" srcId="{15DAE321-A151-40F9-8CB7-092ED55F28D8}" destId="{3A0397E9-FDF5-4783-AC3C-0F4F98CAD412}" srcOrd="1" destOrd="0" presId="urn:microsoft.com/office/officeart/2005/8/layout/process5"/>
    <dgm:cxn modelId="{DCC8873E-581F-458D-AAB8-1B4FE83B82F4}" srcId="{3F740A5E-0832-4BFA-B3EF-E90F4C281312}" destId="{F63CBD12-05A1-4F2D-8B90-163F9A71A892}" srcOrd="6" destOrd="0" parTransId="{C6A5CC92-810F-4BFB-B8FA-E4C0E203DF91}" sibTransId="{422B5B5A-B35D-43B0-92B8-03A5725B9802}"/>
    <dgm:cxn modelId="{2AF4015B-793E-4693-A8E6-33466AD8FD4F}" type="presOf" srcId="{11E0418D-FB4D-4534-BC83-97BC1435D761}" destId="{6C5F7890-C0EF-450D-812D-C036E762566E}" srcOrd="0" destOrd="0" presId="urn:microsoft.com/office/officeart/2005/8/layout/process5"/>
    <dgm:cxn modelId="{A27C6342-6A5D-4C23-9CEB-527FFD52862A}" type="presOf" srcId="{72D49C8E-0275-4333-A3A1-5D18C5E2FE06}" destId="{96155ACE-FBE8-4038-A495-9DB96465F4E4}" srcOrd="0" destOrd="0" presId="urn:microsoft.com/office/officeart/2005/8/layout/process5"/>
    <dgm:cxn modelId="{529CA344-555E-49C3-9E10-B3E5EC0B1074}" type="presOf" srcId="{422B5B5A-B35D-43B0-92B8-03A5725B9802}" destId="{F5DD41C5-BEC0-496C-B294-5B8E97919EB3}" srcOrd="0" destOrd="0" presId="urn:microsoft.com/office/officeart/2005/8/layout/process5"/>
    <dgm:cxn modelId="{98FC7965-6D83-4835-BA2F-B75B048200ED}" type="presOf" srcId="{3F740A5E-0832-4BFA-B3EF-E90F4C281312}" destId="{F2E921E6-9A89-4836-92A4-4240A1679A67}" srcOrd="0" destOrd="0" presId="urn:microsoft.com/office/officeart/2005/8/layout/process5"/>
    <dgm:cxn modelId="{C65D8345-30CE-4CA9-A5A2-652C900AA020}" type="presOf" srcId="{BC13E727-E63D-4B7C-AD32-C27081E8C99A}" destId="{F554B1C5-C7A1-4BF6-B363-782DA6818C2F}" srcOrd="0" destOrd="0" presId="urn:microsoft.com/office/officeart/2005/8/layout/process5"/>
    <dgm:cxn modelId="{036AEE68-410B-4C3C-A9C5-3422D150B0B1}" srcId="{3F740A5E-0832-4BFA-B3EF-E90F4C281312}" destId="{BC13E727-E63D-4B7C-AD32-C27081E8C99A}" srcOrd="5" destOrd="0" parTransId="{B7C844D9-7C81-4BDA-B5F6-EDF5437FE0FA}" sibTransId="{8A518B22-4A55-4EBD-BAF8-87773A3EB2F7}"/>
    <dgm:cxn modelId="{D46FED6A-E823-41FE-924D-7A6F685AA39F}" type="presOf" srcId="{86D3B755-2116-4FCB-86D7-5638AE0A9411}" destId="{058D7507-BCDD-4864-9F57-7A20C2AEDD25}" srcOrd="0" destOrd="0" presId="urn:microsoft.com/office/officeart/2005/8/layout/process5"/>
    <dgm:cxn modelId="{C91E744C-A766-49E2-84FC-422D43B662BC}" type="presOf" srcId="{1D6214EF-7D85-4F2D-8C6F-A08282EB1DB0}" destId="{0AF30173-A7D1-44E2-A9A5-B5C144A146D4}" srcOrd="0" destOrd="0" presId="urn:microsoft.com/office/officeart/2005/8/layout/process5"/>
    <dgm:cxn modelId="{190E276E-C15F-4FE0-994D-10A137192978}" type="presOf" srcId="{BD9E5084-DEBC-4D24-B57A-9816E694986E}" destId="{79992BBD-B051-4FAF-B5B8-77FA3B6235DC}" srcOrd="0" destOrd="0" presId="urn:microsoft.com/office/officeart/2005/8/layout/process5"/>
    <dgm:cxn modelId="{A81FE475-258D-4654-940C-7434E9033FB7}" type="presOf" srcId="{9D7F282E-B367-457A-B549-4C1DE7CEB346}" destId="{4A26F13C-AE3D-40AE-BA35-B58657BEF558}" srcOrd="1" destOrd="0" presId="urn:microsoft.com/office/officeart/2005/8/layout/process5"/>
    <dgm:cxn modelId="{7C62DB77-804F-4C51-9C88-CBA2BA19C8A6}" type="presOf" srcId="{8A518B22-4A55-4EBD-BAF8-87773A3EB2F7}" destId="{311BEEB7-9EDC-4219-87C7-3D8357F5EE19}" srcOrd="1" destOrd="0" presId="urn:microsoft.com/office/officeart/2005/8/layout/process5"/>
    <dgm:cxn modelId="{AB167078-483C-4B92-8AA2-60EF9AF7A8BA}" type="presOf" srcId="{0E7B6A86-A626-4616-9DD9-71D34B1E2B5F}" destId="{70296DAF-BA57-4788-927A-614606067ACC}" srcOrd="1" destOrd="0" presId="urn:microsoft.com/office/officeart/2005/8/layout/process5"/>
    <dgm:cxn modelId="{75FF9158-141C-4328-B42B-4C785E541C99}" srcId="{3F740A5E-0832-4BFA-B3EF-E90F4C281312}" destId="{86D3B755-2116-4FCB-86D7-5638AE0A9411}" srcOrd="1" destOrd="0" parTransId="{48736CAA-3293-4537-9D48-65FBF229A891}" sibTransId="{11E0418D-FB4D-4534-BC83-97BC1435D761}"/>
    <dgm:cxn modelId="{F1FA1559-5165-4C21-82C3-D5739E7D1348}" type="presOf" srcId="{72D49C8E-0275-4333-A3A1-5D18C5E2FE06}" destId="{3B985ADF-CE05-4859-86D8-B78C56975A4E}" srcOrd="1" destOrd="0" presId="urn:microsoft.com/office/officeart/2005/8/layout/process5"/>
    <dgm:cxn modelId="{9EEB517C-1712-4E8E-BD59-E9C68ED0C60E}" type="presOf" srcId="{F18010FB-0FA1-4246-9BBA-AC5E9E8240F0}" destId="{DF30CAEE-C744-4FEB-AC76-5A26AAEDE5C8}" srcOrd="1" destOrd="0" presId="urn:microsoft.com/office/officeart/2005/8/layout/process5"/>
    <dgm:cxn modelId="{95820B8A-7557-4862-84FC-4A13668FF657}" type="presOf" srcId="{F18010FB-0FA1-4246-9BBA-AC5E9E8240F0}" destId="{1D85CC6C-4D09-4F02-949B-CFDF45A15DF9}" srcOrd="0" destOrd="0" presId="urn:microsoft.com/office/officeart/2005/8/layout/process5"/>
    <dgm:cxn modelId="{51EB298B-BA73-4FCA-AC57-12B84CD78C4B}" srcId="{3F740A5E-0832-4BFA-B3EF-E90F4C281312}" destId="{067D0865-9C47-4E1E-BD6A-DC0298066685}" srcOrd="3" destOrd="0" parTransId="{CB8B5685-CF0E-46C4-94AD-E0FD3977449C}" sibTransId="{15DAE321-A151-40F9-8CB7-092ED55F28D8}"/>
    <dgm:cxn modelId="{5DAAE79B-40F2-492D-9567-E2413B56D7AA}" type="presOf" srcId="{0E7B6A86-A626-4616-9DD9-71D34B1E2B5F}" destId="{940D40E0-1488-41D2-88A1-1D2A9C85C918}" srcOrd="0" destOrd="0" presId="urn:microsoft.com/office/officeart/2005/8/layout/process5"/>
    <dgm:cxn modelId="{CB5EF6AC-B469-4B53-90BF-2E9FAEDA6B81}" srcId="{3F740A5E-0832-4BFA-B3EF-E90F4C281312}" destId="{1D6214EF-7D85-4F2D-8C6F-A08282EB1DB0}" srcOrd="4" destOrd="0" parTransId="{73C02B02-620D-4E71-8697-6C2F8BC5B794}" sibTransId="{9D7F282E-B367-457A-B549-4C1DE7CEB346}"/>
    <dgm:cxn modelId="{0063BFB5-927A-49C7-9E9C-A8C814D59A8C}" type="presOf" srcId="{9331F141-308C-449A-A949-017D75983EC6}" destId="{31B266D5-CC0F-4F39-9E86-C4D7551C666F}" srcOrd="0" destOrd="0" presId="urn:microsoft.com/office/officeart/2005/8/layout/process5"/>
    <dgm:cxn modelId="{6AB1BDBC-2A1F-45A6-A0CB-DA646D31AB8D}" srcId="{3F740A5E-0832-4BFA-B3EF-E90F4C281312}" destId="{466FD72C-FE4C-4F2A-AAFD-982536D57E4A}" srcOrd="0" destOrd="0" parTransId="{C0420F1E-D453-48AE-BCEA-8837E474AA6C}" sibTransId="{F18010FB-0FA1-4246-9BBA-AC5E9E8240F0}"/>
    <dgm:cxn modelId="{797E00C1-1727-4C72-A0D7-6D2CD85FCFBE}" type="presOf" srcId="{9D7F282E-B367-457A-B549-4C1DE7CEB346}" destId="{14C1A7AB-122F-4FD0-8E6F-D988D1BA95C5}" srcOrd="0" destOrd="0" presId="urn:microsoft.com/office/officeart/2005/8/layout/process5"/>
    <dgm:cxn modelId="{4BB6E3C3-703F-44DF-9E61-A8801BA0974C}" type="presOf" srcId="{11E0418D-FB4D-4534-BC83-97BC1435D761}" destId="{B1DC27BC-EB4A-4E38-A4C8-9933F30ABC24}" srcOrd="1" destOrd="0" presId="urn:microsoft.com/office/officeart/2005/8/layout/process5"/>
    <dgm:cxn modelId="{FA1F58CC-2D6C-43D6-BA1B-7028BFB74FAA}" type="presOf" srcId="{067D0865-9C47-4E1E-BD6A-DC0298066685}" destId="{14EEA9FE-19D0-4D2E-A9AA-082BD21386D1}" srcOrd="0" destOrd="0" presId="urn:microsoft.com/office/officeart/2005/8/layout/process5"/>
    <dgm:cxn modelId="{7B04BACD-7D3C-49B6-A6F6-AEC3E598090B}" type="presOf" srcId="{F63CBD12-05A1-4F2D-8B90-163F9A71A892}" destId="{BFBE5DC6-39B6-4059-8677-75468E76C775}" srcOrd="0" destOrd="0" presId="urn:microsoft.com/office/officeart/2005/8/layout/process5"/>
    <dgm:cxn modelId="{4E0832D3-2B24-464A-BBAC-CA62248BD936}" type="presOf" srcId="{15DAE321-A151-40F9-8CB7-092ED55F28D8}" destId="{6F9B85EF-A4BC-415B-9B57-65BA4589DECC}" srcOrd="0" destOrd="0" presId="urn:microsoft.com/office/officeart/2005/8/layout/process5"/>
    <dgm:cxn modelId="{6AAB02DD-7E34-4A39-9778-0A9EAC53BF13}" type="presOf" srcId="{466FD72C-FE4C-4F2A-AAFD-982536D57E4A}" destId="{C233EA99-C4F0-4BCC-8226-7A7A21589F6E}" srcOrd="0" destOrd="0" presId="urn:microsoft.com/office/officeart/2005/8/layout/process5"/>
    <dgm:cxn modelId="{B3F2C7E3-8914-4A52-8D17-F4A900EC3D88}" srcId="{3F740A5E-0832-4BFA-B3EF-E90F4C281312}" destId="{BD9E5084-DEBC-4D24-B57A-9816E694986E}" srcOrd="9" destOrd="0" parTransId="{08F87C5F-0045-4085-9AC4-AB68DF4E1C5A}" sibTransId="{1A5E481E-3EDE-46F9-A524-B754DA0597B0}"/>
    <dgm:cxn modelId="{169B13E4-0282-4CB4-92A6-E8FFE1833BE0}" type="presOf" srcId="{8CCFCCE1-D3F4-44C7-9D85-99CE917B13E1}" destId="{C3286939-E59D-44D4-BAA8-E9AE958BF233}" srcOrd="0" destOrd="0" presId="urn:microsoft.com/office/officeart/2005/8/layout/process5"/>
    <dgm:cxn modelId="{E013C6EF-E40D-4B18-840F-9C5028F08FD7}" type="presOf" srcId="{A08E5205-0536-4D6C-928F-0960762E2A82}" destId="{1A4C39AA-79E3-4D97-954A-3F2164F60A65}" srcOrd="0" destOrd="0" presId="urn:microsoft.com/office/officeart/2005/8/layout/process5"/>
    <dgm:cxn modelId="{78EA64F4-A0AB-4804-B842-38F5F069DC63}" type="presOf" srcId="{8CCFCCE1-D3F4-44C7-9D85-99CE917B13E1}" destId="{FBA16223-C175-4F58-9D05-15D8BDE6FFFF}" srcOrd="1" destOrd="0" presId="urn:microsoft.com/office/officeart/2005/8/layout/process5"/>
    <dgm:cxn modelId="{890981FE-F86E-4DDA-A532-5E1131167F3A}" srcId="{3F740A5E-0832-4BFA-B3EF-E90F4C281312}" destId="{E8D226DA-465E-4531-9DA8-D02FEF181F4D}" srcOrd="7" destOrd="0" parTransId="{844439EC-C30E-4A6E-9842-5EC6EA52D03D}" sibTransId="{72D49C8E-0275-4333-A3A1-5D18C5E2FE06}"/>
    <dgm:cxn modelId="{FBA18339-F742-46C3-96BC-2D45DFB21C1E}" type="presParOf" srcId="{F2E921E6-9A89-4836-92A4-4240A1679A67}" destId="{C233EA99-C4F0-4BCC-8226-7A7A21589F6E}" srcOrd="0" destOrd="0" presId="urn:microsoft.com/office/officeart/2005/8/layout/process5"/>
    <dgm:cxn modelId="{5CC25925-6406-45C8-BF30-69661D078A8C}" type="presParOf" srcId="{F2E921E6-9A89-4836-92A4-4240A1679A67}" destId="{1D85CC6C-4D09-4F02-949B-CFDF45A15DF9}" srcOrd="1" destOrd="0" presId="urn:microsoft.com/office/officeart/2005/8/layout/process5"/>
    <dgm:cxn modelId="{4AFFB9FC-251B-47A9-9585-AC11455E5D74}" type="presParOf" srcId="{1D85CC6C-4D09-4F02-949B-CFDF45A15DF9}" destId="{DF30CAEE-C744-4FEB-AC76-5A26AAEDE5C8}" srcOrd="0" destOrd="0" presId="urn:microsoft.com/office/officeart/2005/8/layout/process5"/>
    <dgm:cxn modelId="{A794986D-BEE2-4A0F-B9B4-AD4298990775}" type="presParOf" srcId="{F2E921E6-9A89-4836-92A4-4240A1679A67}" destId="{058D7507-BCDD-4864-9F57-7A20C2AEDD25}" srcOrd="2" destOrd="0" presId="urn:microsoft.com/office/officeart/2005/8/layout/process5"/>
    <dgm:cxn modelId="{249C7783-C1EE-4F8D-92DC-2CD027F31EA9}" type="presParOf" srcId="{F2E921E6-9A89-4836-92A4-4240A1679A67}" destId="{6C5F7890-C0EF-450D-812D-C036E762566E}" srcOrd="3" destOrd="0" presId="urn:microsoft.com/office/officeart/2005/8/layout/process5"/>
    <dgm:cxn modelId="{4C7379A4-EF45-4CE0-B9CB-EC1BBB2C93C4}" type="presParOf" srcId="{6C5F7890-C0EF-450D-812D-C036E762566E}" destId="{B1DC27BC-EB4A-4E38-A4C8-9933F30ABC24}" srcOrd="0" destOrd="0" presId="urn:microsoft.com/office/officeart/2005/8/layout/process5"/>
    <dgm:cxn modelId="{40A27922-C0BD-4D1F-80EE-A1C42B1DF124}" type="presParOf" srcId="{F2E921E6-9A89-4836-92A4-4240A1679A67}" destId="{31B266D5-CC0F-4F39-9E86-C4D7551C666F}" srcOrd="4" destOrd="0" presId="urn:microsoft.com/office/officeart/2005/8/layout/process5"/>
    <dgm:cxn modelId="{9430527F-451C-4BEF-9D20-29A7DD6DA16F}" type="presParOf" srcId="{F2E921E6-9A89-4836-92A4-4240A1679A67}" destId="{C3286939-E59D-44D4-BAA8-E9AE958BF233}" srcOrd="5" destOrd="0" presId="urn:microsoft.com/office/officeart/2005/8/layout/process5"/>
    <dgm:cxn modelId="{64ACDB86-244B-44B0-AAEA-A0D79AA8161B}" type="presParOf" srcId="{C3286939-E59D-44D4-BAA8-E9AE958BF233}" destId="{FBA16223-C175-4F58-9D05-15D8BDE6FFFF}" srcOrd="0" destOrd="0" presId="urn:microsoft.com/office/officeart/2005/8/layout/process5"/>
    <dgm:cxn modelId="{5E1E6F9B-AC47-43FB-8106-DFA892B2C1C4}" type="presParOf" srcId="{F2E921E6-9A89-4836-92A4-4240A1679A67}" destId="{14EEA9FE-19D0-4D2E-A9AA-082BD21386D1}" srcOrd="6" destOrd="0" presId="urn:microsoft.com/office/officeart/2005/8/layout/process5"/>
    <dgm:cxn modelId="{53ADB5DF-7712-4C44-9F2F-8A54B95A1C28}" type="presParOf" srcId="{F2E921E6-9A89-4836-92A4-4240A1679A67}" destId="{6F9B85EF-A4BC-415B-9B57-65BA4589DECC}" srcOrd="7" destOrd="0" presId="urn:microsoft.com/office/officeart/2005/8/layout/process5"/>
    <dgm:cxn modelId="{118CC0A2-AA96-4AFA-9132-9BC767C26B06}" type="presParOf" srcId="{6F9B85EF-A4BC-415B-9B57-65BA4589DECC}" destId="{3A0397E9-FDF5-4783-AC3C-0F4F98CAD412}" srcOrd="0" destOrd="0" presId="urn:microsoft.com/office/officeart/2005/8/layout/process5"/>
    <dgm:cxn modelId="{D623037C-E79B-41BA-82C1-37A5835410C5}" type="presParOf" srcId="{F2E921E6-9A89-4836-92A4-4240A1679A67}" destId="{0AF30173-A7D1-44E2-A9A5-B5C144A146D4}" srcOrd="8" destOrd="0" presId="urn:microsoft.com/office/officeart/2005/8/layout/process5"/>
    <dgm:cxn modelId="{4AEDB45A-E29C-406D-BC7E-C6F8960C2069}" type="presParOf" srcId="{F2E921E6-9A89-4836-92A4-4240A1679A67}" destId="{14C1A7AB-122F-4FD0-8E6F-D988D1BA95C5}" srcOrd="9" destOrd="0" presId="urn:microsoft.com/office/officeart/2005/8/layout/process5"/>
    <dgm:cxn modelId="{5B5A47E7-BE8E-45DC-9379-2B9AB7DBA8C8}" type="presParOf" srcId="{14C1A7AB-122F-4FD0-8E6F-D988D1BA95C5}" destId="{4A26F13C-AE3D-40AE-BA35-B58657BEF558}" srcOrd="0" destOrd="0" presId="urn:microsoft.com/office/officeart/2005/8/layout/process5"/>
    <dgm:cxn modelId="{ACAA47D2-2DC4-4E7B-820C-7365AF464324}" type="presParOf" srcId="{F2E921E6-9A89-4836-92A4-4240A1679A67}" destId="{F554B1C5-C7A1-4BF6-B363-782DA6818C2F}" srcOrd="10" destOrd="0" presId="urn:microsoft.com/office/officeart/2005/8/layout/process5"/>
    <dgm:cxn modelId="{B7B097A9-584F-4051-863F-041246906453}" type="presParOf" srcId="{F2E921E6-9A89-4836-92A4-4240A1679A67}" destId="{C77C49A8-68BF-4AAB-A60B-EB10560A6ADB}" srcOrd="11" destOrd="0" presId="urn:microsoft.com/office/officeart/2005/8/layout/process5"/>
    <dgm:cxn modelId="{46FC56BC-012F-40B6-BD3C-9C9ECE5E571C}" type="presParOf" srcId="{C77C49A8-68BF-4AAB-A60B-EB10560A6ADB}" destId="{311BEEB7-9EDC-4219-87C7-3D8357F5EE19}" srcOrd="0" destOrd="0" presId="urn:microsoft.com/office/officeart/2005/8/layout/process5"/>
    <dgm:cxn modelId="{D0923C7F-F4AD-4B73-94CC-74733E1DB10E}" type="presParOf" srcId="{F2E921E6-9A89-4836-92A4-4240A1679A67}" destId="{BFBE5DC6-39B6-4059-8677-75468E76C775}" srcOrd="12" destOrd="0" presId="urn:microsoft.com/office/officeart/2005/8/layout/process5"/>
    <dgm:cxn modelId="{D48F6318-00DF-4C78-A058-F895F530DDCB}" type="presParOf" srcId="{F2E921E6-9A89-4836-92A4-4240A1679A67}" destId="{F5DD41C5-BEC0-496C-B294-5B8E97919EB3}" srcOrd="13" destOrd="0" presId="urn:microsoft.com/office/officeart/2005/8/layout/process5"/>
    <dgm:cxn modelId="{77E0039C-1A08-4E7D-AA8C-0B64A2B12A72}" type="presParOf" srcId="{F5DD41C5-BEC0-496C-B294-5B8E97919EB3}" destId="{1986A502-4788-4007-BDCA-E4C8FA80FCE7}" srcOrd="0" destOrd="0" presId="urn:microsoft.com/office/officeart/2005/8/layout/process5"/>
    <dgm:cxn modelId="{1317A0C6-2601-4F4B-BA15-60C1D7C9561A}" type="presParOf" srcId="{F2E921E6-9A89-4836-92A4-4240A1679A67}" destId="{9E0E1EBA-90BA-463B-8AC4-02C81721497A}" srcOrd="14" destOrd="0" presId="urn:microsoft.com/office/officeart/2005/8/layout/process5"/>
    <dgm:cxn modelId="{822A5355-9618-4214-A30B-E8C8505BDECF}" type="presParOf" srcId="{F2E921E6-9A89-4836-92A4-4240A1679A67}" destId="{96155ACE-FBE8-4038-A495-9DB96465F4E4}" srcOrd="15" destOrd="0" presId="urn:microsoft.com/office/officeart/2005/8/layout/process5"/>
    <dgm:cxn modelId="{773400F2-D69C-4053-87D2-51E3742B0F85}" type="presParOf" srcId="{96155ACE-FBE8-4038-A495-9DB96465F4E4}" destId="{3B985ADF-CE05-4859-86D8-B78C56975A4E}" srcOrd="0" destOrd="0" presId="urn:microsoft.com/office/officeart/2005/8/layout/process5"/>
    <dgm:cxn modelId="{EC9685A7-3D09-4AE1-AC77-5CC33030FC87}" type="presParOf" srcId="{F2E921E6-9A89-4836-92A4-4240A1679A67}" destId="{1A4C39AA-79E3-4D97-954A-3F2164F60A65}" srcOrd="16" destOrd="0" presId="urn:microsoft.com/office/officeart/2005/8/layout/process5"/>
    <dgm:cxn modelId="{897CC61D-DEC1-4226-8906-184446F2268A}" type="presParOf" srcId="{F2E921E6-9A89-4836-92A4-4240A1679A67}" destId="{940D40E0-1488-41D2-88A1-1D2A9C85C918}" srcOrd="17" destOrd="0" presId="urn:microsoft.com/office/officeart/2005/8/layout/process5"/>
    <dgm:cxn modelId="{A0C21B5C-934C-454F-83B7-522C48F6F52C}" type="presParOf" srcId="{940D40E0-1488-41D2-88A1-1D2A9C85C918}" destId="{70296DAF-BA57-4788-927A-614606067ACC}" srcOrd="0" destOrd="0" presId="urn:microsoft.com/office/officeart/2005/8/layout/process5"/>
    <dgm:cxn modelId="{F75E33A0-9AC9-42B6-A657-6A78967CA8AF}" type="presParOf" srcId="{F2E921E6-9A89-4836-92A4-4240A1679A67}" destId="{79992BBD-B051-4FAF-B5B8-77FA3B6235DC}" srcOrd="1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8/layout/AlternatingHexagons" loCatId="list" qsTypeId="urn:microsoft.com/office/officeart/2005/8/quickstyle/simple5" qsCatId="simple" csTypeId="urn:microsoft.com/office/officeart/2005/8/colors/colorful1#3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/>
      <dgm:spPr>
        <a:solidFill>
          <a:srgbClr val="6A9529"/>
        </a:solidFill>
      </dgm:spPr>
      <dgm:t>
        <a:bodyPr/>
        <a:lstStyle/>
        <a:p>
          <a:r>
            <a:rPr lang="en-US" noProof="0" dirty="0"/>
            <a:t>Switch ON quality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/>
      <dgm:spPr>
        <a:solidFill>
          <a:srgbClr val="0085B3"/>
        </a:solidFill>
      </dgm:spPr>
      <dgm:t>
        <a:bodyPr/>
        <a:lstStyle/>
        <a:p>
          <a:r>
            <a:rPr lang="en-US" noProof="0"/>
            <a:t>One solution to fit all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/>
      <dgm:spPr>
        <a:solidFill>
          <a:srgbClr val="DA9C00"/>
        </a:solidFill>
      </dgm:spPr>
      <dgm:t>
        <a:bodyPr/>
        <a:lstStyle/>
        <a:p>
          <a:r>
            <a:rPr lang="en-US" noProof="0" dirty="0"/>
            <a:t>Break team silos </a:t>
          </a:r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8BE07AC0-1B92-45C8-9622-1773B6DCDB11}" type="pres">
      <dgm:prSet presAssocID="{B9C32B05-62EA-407A-B21C-2310C7945705}" presName="Name0" presStyleCnt="0">
        <dgm:presLayoutVars>
          <dgm:chMax/>
          <dgm:chPref/>
          <dgm:dir/>
          <dgm:animLvl val="lvl"/>
        </dgm:presLayoutVars>
      </dgm:prSet>
      <dgm:spPr/>
    </dgm:pt>
    <dgm:pt modelId="{B924C370-3F22-4AE6-91C9-F6B63F8EA950}" type="pres">
      <dgm:prSet presAssocID="{42D71409-67F9-455C-8C6D-716D284AAA6B}" presName="composite" presStyleCnt="0"/>
      <dgm:spPr/>
    </dgm:pt>
    <dgm:pt modelId="{1F2EF0EB-B252-4BC3-A06F-72AA30BF178E}" type="pres">
      <dgm:prSet presAssocID="{42D71409-67F9-455C-8C6D-716D284AAA6B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2C84F8A6-9F54-4DED-BEC7-410A64D8472B}" type="pres">
      <dgm:prSet presAssocID="{42D71409-67F9-455C-8C6D-716D284AAA6B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85D68C15-04EB-4B48-A472-90B73746A67B}" type="pres">
      <dgm:prSet presAssocID="{42D71409-67F9-455C-8C6D-716D284AAA6B}" presName="BalanceSpacing" presStyleCnt="0"/>
      <dgm:spPr/>
    </dgm:pt>
    <dgm:pt modelId="{E252F3E6-4F2B-458B-B28B-F06E6E04744E}" type="pres">
      <dgm:prSet presAssocID="{42D71409-67F9-455C-8C6D-716D284AAA6B}" presName="BalanceSpacing1" presStyleCnt="0"/>
      <dgm:spPr/>
    </dgm:pt>
    <dgm:pt modelId="{AF9D1B28-55D2-4661-9B48-D46DD7C6F172}" type="pres">
      <dgm:prSet presAssocID="{478B7D3C-9FB4-4BC6-90AC-49960560DECD}" presName="Accent1Text" presStyleLbl="node1" presStyleIdx="1" presStyleCnt="6"/>
      <dgm:spPr/>
    </dgm:pt>
    <dgm:pt modelId="{C7C4B145-67F5-4B82-B73F-A039D364D3D0}" type="pres">
      <dgm:prSet presAssocID="{478B7D3C-9FB4-4BC6-90AC-49960560DECD}" presName="spaceBetweenRectangles" presStyleCnt="0"/>
      <dgm:spPr/>
    </dgm:pt>
    <dgm:pt modelId="{8A8D0D2A-B22B-4B00-8688-0B1A8A8C846F}" type="pres">
      <dgm:prSet presAssocID="{F66099B6-DBBD-4AB0-82D2-877B80F846F7}" presName="composite" presStyleCnt="0"/>
      <dgm:spPr/>
    </dgm:pt>
    <dgm:pt modelId="{0E654833-B3D7-4466-92A7-52D61721734B}" type="pres">
      <dgm:prSet presAssocID="{F66099B6-DBBD-4AB0-82D2-877B80F846F7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A63FCDCD-9300-424B-B5F3-2490EC955C86}" type="pres">
      <dgm:prSet presAssocID="{F66099B6-DBBD-4AB0-82D2-877B80F846F7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43240BA0-AF47-4589-A789-357B26C50FF8}" type="pres">
      <dgm:prSet presAssocID="{F66099B6-DBBD-4AB0-82D2-877B80F846F7}" presName="BalanceSpacing" presStyleCnt="0"/>
      <dgm:spPr/>
    </dgm:pt>
    <dgm:pt modelId="{AC2F0254-3147-4360-97F3-BE099343FD41}" type="pres">
      <dgm:prSet presAssocID="{F66099B6-DBBD-4AB0-82D2-877B80F846F7}" presName="BalanceSpacing1" presStyleCnt="0"/>
      <dgm:spPr/>
    </dgm:pt>
    <dgm:pt modelId="{9A83753A-2CBC-46D5-A237-7CD32146492C}" type="pres">
      <dgm:prSet presAssocID="{BC531B32-9B0E-482E-BF91-65C61F17168D}" presName="Accent1Text" presStyleLbl="node1" presStyleIdx="3" presStyleCnt="6"/>
      <dgm:spPr/>
    </dgm:pt>
    <dgm:pt modelId="{787A8707-6804-482C-AFBE-C348B9168B4A}" type="pres">
      <dgm:prSet presAssocID="{BC531B32-9B0E-482E-BF91-65C61F17168D}" presName="spaceBetweenRectangles" presStyleCnt="0"/>
      <dgm:spPr/>
    </dgm:pt>
    <dgm:pt modelId="{7A6A520D-7931-486E-B148-A6B0B83367A9}" type="pres">
      <dgm:prSet presAssocID="{EE62A4F6-4AC4-435B-990E-81A71CE8CAC7}" presName="composite" presStyleCnt="0"/>
      <dgm:spPr/>
    </dgm:pt>
    <dgm:pt modelId="{D2E1E186-8C78-4977-9223-FD67ACF0AAFF}" type="pres">
      <dgm:prSet presAssocID="{EE62A4F6-4AC4-435B-990E-81A71CE8CAC7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89B2CB3C-27CC-44EB-BAAE-8724FF87BCA9}" type="pres">
      <dgm:prSet presAssocID="{EE62A4F6-4AC4-435B-990E-81A71CE8CAC7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7D3E8CAB-0C66-44B4-BED1-BBC4315DC3AE}" type="pres">
      <dgm:prSet presAssocID="{EE62A4F6-4AC4-435B-990E-81A71CE8CAC7}" presName="BalanceSpacing" presStyleCnt="0"/>
      <dgm:spPr/>
    </dgm:pt>
    <dgm:pt modelId="{DD0EC311-C053-408A-B696-5728E695C95B}" type="pres">
      <dgm:prSet presAssocID="{EE62A4F6-4AC4-435B-990E-81A71CE8CAC7}" presName="BalanceSpacing1" presStyleCnt="0"/>
      <dgm:spPr/>
    </dgm:pt>
    <dgm:pt modelId="{9FF7C39B-A2FA-439F-90BC-D1F836A75373}" type="pres">
      <dgm:prSet presAssocID="{389F9A93-0231-4877-8C41-5D5B8DD7AAC0}" presName="Accent1Text" presStyleLbl="node1" presStyleIdx="5" presStyleCnt="6"/>
      <dgm:spPr/>
    </dgm:pt>
  </dgm:ptLst>
  <dgm:cxnLst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4BE8C673-E663-43D3-BE23-468B979F0DAA}" type="presOf" srcId="{BC531B32-9B0E-482E-BF91-65C61F17168D}" destId="{9A83753A-2CBC-46D5-A237-7CD32146492C}" srcOrd="0" destOrd="0" presId="urn:microsoft.com/office/officeart/2008/layout/AlternatingHexagons"/>
    <dgm:cxn modelId="{E2B28879-7632-49A8-A8A5-EFC247B0A2C1}" type="presOf" srcId="{EE62A4F6-4AC4-435B-990E-81A71CE8CAC7}" destId="{D2E1E186-8C78-4977-9223-FD67ACF0AAFF}" srcOrd="0" destOrd="0" presId="urn:microsoft.com/office/officeart/2008/layout/AlternatingHexagons"/>
    <dgm:cxn modelId="{6D3C2F7C-662F-4804-83F9-2C3BB179D424}" type="presOf" srcId="{478B7D3C-9FB4-4BC6-90AC-49960560DECD}" destId="{AF9D1B28-55D2-4661-9B48-D46DD7C6F172}" srcOrd="0" destOrd="0" presId="urn:microsoft.com/office/officeart/2008/layout/AlternatingHexagons"/>
    <dgm:cxn modelId="{00263394-0C3A-4270-9CFD-CCF70C298843}" type="presOf" srcId="{42D71409-67F9-455C-8C6D-716D284AAA6B}" destId="{1F2EF0EB-B252-4BC3-A06F-72AA30BF178E}" srcOrd="0" destOrd="0" presId="urn:microsoft.com/office/officeart/2008/layout/AlternatingHexagons"/>
    <dgm:cxn modelId="{F88A829D-08F8-4E27-B0CB-ED1205068B21}" type="presOf" srcId="{F66099B6-DBBD-4AB0-82D2-877B80F846F7}" destId="{0E654833-B3D7-4466-92A7-52D61721734B}" srcOrd="0" destOrd="0" presId="urn:microsoft.com/office/officeart/2008/layout/AlternatingHexagons"/>
    <dgm:cxn modelId="{D7CA6DA4-A9DF-4771-9C88-3CF4E5D628B3}" type="presOf" srcId="{B9C32B05-62EA-407A-B21C-2310C7945705}" destId="{8BE07AC0-1B92-45C8-9622-1773B6DCDB11}" srcOrd="0" destOrd="0" presId="urn:microsoft.com/office/officeart/2008/layout/AlternatingHexagons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022699C1-BD2A-4442-ACF6-A6EACCFAA5D1}" type="presOf" srcId="{389F9A93-0231-4877-8C41-5D5B8DD7AAC0}" destId="{9FF7C39B-A2FA-439F-90BC-D1F836A75373}" srcOrd="0" destOrd="0" presId="urn:microsoft.com/office/officeart/2008/layout/AlternatingHexagons"/>
    <dgm:cxn modelId="{665A830D-CA26-463C-9F1A-857BAC0B6A1E}" type="presParOf" srcId="{8BE07AC0-1B92-45C8-9622-1773B6DCDB11}" destId="{B924C370-3F22-4AE6-91C9-F6B63F8EA950}" srcOrd="0" destOrd="0" presId="urn:microsoft.com/office/officeart/2008/layout/AlternatingHexagons"/>
    <dgm:cxn modelId="{2F1C8505-B3DD-4E33-92D7-7EF3C3EAD463}" type="presParOf" srcId="{B924C370-3F22-4AE6-91C9-F6B63F8EA950}" destId="{1F2EF0EB-B252-4BC3-A06F-72AA30BF178E}" srcOrd="0" destOrd="0" presId="urn:microsoft.com/office/officeart/2008/layout/AlternatingHexagons"/>
    <dgm:cxn modelId="{E1ACCCBA-FE96-42D8-A0B2-FA5FD0294018}" type="presParOf" srcId="{B924C370-3F22-4AE6-91C9-F6B63F8EA950}" destId="{2C84F8A6-9F54-4DED-BEC7-410A64D8472B}" srcOrd="1" destOrd="0" presId="urn:microsoft.com/office/officeart/2008/layout/AlternatingHexagons"/>
    <dgm:cxn modelId="{0465FDCB-4578-4D66-9E54-A1890E9076B4}" type="presParOf" srcId="{B924C370-3F22-4AE6-91C9-F6B63F8EA950}" destId="{85D68C15-04EB-4B48-A472-90B73746A67B}" srcOrd="2" destOrd="0" presId="urn:microsoft.com/office/officeart/2008/layout/AlternatingHexagons"/>
    <dgm:cxn modelId="{5C4E640D-167A-4AA5-BDDE-515875B2EBCF}" type="presParOf" srcId="{B924C370-3F22-4AE6-91C9-F6B63F8EA950}" destId="{E252F3E6-4F2B-458B-B28B-F06E6E04744E}" srcOrd="3" destOrd="0" presId="urn:microsoft.com/office/officeart/2008/layout/AlternatingHexagons"/>
    <dgm:cxn modelId="{C7430295-0E3F-4FB6-BD60-EDFDD350DCE2}" type="presParOf" srcId="{B924C370-3F22-4AE6-91C9-F6B63F8EA950}" destId="{AF9D1B28-55D2-4661-9B48-D46DD7C6F172}" srcOrd="4" destOrd="0" presId="urn:microsoft.com/office/officeart/2008/layout/AlternatingHexagons"/>
    <dgm:cxn modelId="{56AA6288-66E3-4342-8F9D-42E62D499962}" type="presParOf" srcId="{8BE07AC0-1B92-45C8-9622-1773B6DCDB11}" destId="{C7C4B145-67F5-4B82-B73F-A039D364D3D0}" srcOrd="1" destOrd="0" presId="urn:microsoft.com/office/officeart/2008/layout/AlternatingHexagons"/>
    <dgm:cxn modelId="{86D7510E-80CD-4116-BAA1-7E577D64B13F}" type="presParOf" srcId="{8BE07AC0-1B92-45C8-9622-1773B6DCDB11}" destId="{8A8D0D2A-B22B-4B00-8688-0B1A8A8C846F}" srcOrd="2" destOrd="0" presId="urn:microsoft.com/office/officeart/2008/layout/AlternatingHexagons"/>
    <dgm:cxn modelId="{F6572872-0359-45A4-8DDA-F22D47F839A5}" type="presParOf" srcId="{8A8D0D2A-B22B-4B00-8688-0B1A8A8C846F}" destId="{0E654833-B3D7-4466-92A7-52D61721734B}" srcOrd="0" destOrd="0" presId="urn:microsoft.com/office/officeart/2008/layout/AlternatingHexagons"/>
    <dgm:cxn modelId="{839B9300-7B35-4E15-897F-C3C24A7A728E}" type="presParOf" srcId="{8A8D0D2A-B22B-4B00-8688-0B1A8A8C846F}" destId="{A63FCDCD-9300-424B-B5F3-2490EC955C86}" srcOrd="1" destOrd="0" presId="urn:microsoft.com/office/officeart/2008/layout/AlternatingHexagons"/>
    <dgm:cxn modelId="{D43D37B6-6264-45EF-A622-2350B77F5D9A}" type="presParOf" srcId="{8A8D0D2A-B22B-4B00-8688-0B1A8A8C846F}" destId="{43240BA0-AF47-4589-A789-357B26C50FF8}" srcOrd="2" destOrd="0" presId="urn:microsoft.com/office/officeart/2008/layout/AlternatingHexagons"/>
    <dgm:cxn modelId="{A57B9592-AD06-4620-9453-F7649AB54648}" type="presParOf" srcId="{8A8D0D2A-B22B-4B00-8688-0B1A8A8C846F}" destId="{AC2F0254-3147-4360-97F3-BE099343FD41}" srcOrd="3" destOrd="0" presId="urn:microsoft.com/office/officeart/2008/layout/AlternatingHexagons"/>
    <dgm:cxn modelId="{0219F414-C84A-48BC-9A9A-8BFD9C10779F}" type="presParOf" srcId="{8A8D0D2A-B22B-4B00-8688-0B1A8A8C846F}" destId="{9A83753A-2CBC-46D5-A237-7CD32146492C}" srcOrd="4" destOrd="0" presId="urn:microsoft.com/office/officeart/2008/layout/AlternatingHexagons"/>
    <dgm:cxn modelId="{526A46B1-011D-412E-8A46-CA846157F00E}" type="presParOf" srcId="{8BE07AC0-1B92-45C8-9622-1773B6DCDB11}" destId="{787A8707-6804-482C-AFBE-C348B9168B4A}" srcOrd="3" destOrd="0" presId="urn:microsoft.com/office/officeart/2008/layout/AlternatingHexagons"/>
    <dgm:cxn modelId="{45F3A9A8-792D-4CC5-91C4-366192F1C31C}" type="presParOf" srcId="{8BE07AC0-1B92-45C8-9622-1773B6DCDB11}" destId="{7A6A520D-7931-486E-B148-A6B0B83367A9}" srcOrd="4" destOrd="0" presId="urn:microsoft.com/office/officeart/2008/layout/AlternatingHexagons"/>
    <dgm:cxn modelId="{36856E5A-E1F8-41C0-BCE0-0BC4F9DCB909}" type="presParOf" srcId="{7A6A520D-7931-486E-B148-A6B0B83367A9}" destId="{D2E1E186-8C78-4977-9223-FD67ACF0AAFF}" srcOrd="0" destOrd="0" presId="urn:microsoft.com/office/officeart/2008/layout/AlternatingHexagons"/>
    <dgm:cxn modelId="{0B36F01E-F0D6-46B3-A5F2-9D6B66492310}" type="presParOf" srcId="{7A6A520D-7931-486E-B148-A6B0B83367A9}" destId="{89B2CB3C-27CC-44EB-BAAE-8724FF87BCA9}" srcOrd="1" destOrd="0" presId="urn:microsoft.com/office/officeart/2008/layout/AlternatingHexagons"/>
    <dgm:cxn modelId="{B83C9F56-4421-40BA-8B77-FDEDE10016AE}" type="presParOf" srcId="{7A6A520D-7931-486E-B148-A6B0B83367A9}" destId="{7D3E8CAB-0C66-44B4-BED1-BBC4315DC3AE}" srcOrd="2" destOrd="0" presId="urn:microsoft.com/office/officeart/2008/layout/AlternatingHexagons"/>
    <dgm:cxn modelId="{D8023459-47B7-479F-9E00-B3016C4221EB}" type="presParOf" srcId="{7A6A520D-7931-486E-B148-A6B0B83367A9}" destId="{DD0EC311-C053-408A-B696-5728E695C95B}" srcOrd="3" destOrd="0" presId="urn:microsoft.com/office/officeart/2008/layout/AlternatingHexagons"/>
    <dgm:cxn modelId="{4D0F2D01-451E-4038-B145-172BE51E20B3}" type="presParOf" srcId="{7A6A520D-7931-486E-B148-A6B0B83367A9}" destId="{9FF7C39B-A2FA-439F-90BC-D1F836A75373}" srcOrd="4" destOrd="0" presId="urn:microsoft.com/office/officeart/2008/layout/AlternatingHexagon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F740A5E-0832-4BFA-B3EF-E90F4C28131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B5BE5DD3-305E-4EDD-B2C9-62672F72316C}">
      <dgm:prSet phldrT="[Text]"/>
      <dgm:spPr/>
      <dgm:t>
        <a:bodyPr/>
        <a:lstStyle/>
        <a:p>
          <a:r>
            <a:rPr lang="en-US" noProof="0" dirty="0"/>
            <a:t>Core</a:t>
          </a:r>
          <a:r>
            <a:rPr lang="pl-PL" noProof="0" dirty="0"/>
            <a:t> test</a:t>
          </a:r>
          <a:r>
            <a:rPr lang="en-US" noProof="0" dirty="0"/>
            <a:t> functions</a:t>
          </a:r>
        </a:p>
      </dgm:t>
    </dgm:pt>
    <dgm:pt modelId="{A6693A5A-27D7-4739-91F7-AC61EFBF04AA}" type="parTrans" cxnId="{DAF4B591-421A-469B-9E3A-CF80D3E9B250}">
      <dgm:prSet/>
      <dgm:spPr/>
      <dgm:t>
        <a:bodyPr/>
        <a:lstStyle/>
        <a:p>
          <a:endParaRPr lang="en-US"/>
        </a:p>
      </dgm:t>
    </dgm:pt>
    <dgm:pt modelId="{53A23696-9436-407A-A3C0-4189FF6C5EA7}" type="sibTrans" cxnId="{DAF4B591-421A-469B-9E3A-CF80D3E9B250}">
      <dgm:prSet/>
      <dgm:spPr/>
      <dgm:t>
        <a:bodyPr/>
        <a:lstStyle/>
        <a:p>
          <a:endParaRPr lang="en-US"/>
        </a:p>
      </dgm:t>
    </dgm:pt>
    <dgm:pt modelId="{8FA3C78F-ED5B-4D2D-A474-DEF01202F5B8}">
      <dgm:prSet phldrT="[Text]"/>
      <dgm:spPr/>
      <dgm:t>
        <a:bodyPr/>
        <a:lstStyle/>
        <a:p>
          <a:r>
            <a:rPr lang="en-US" noProof="0" dirty="0"/>
            <a:t>UI test module</a:t>
          </a:r>
          <a:endParaRPr lang="en-US" dirty="0"/>
        </a:p>
      </dgm:t>
    </dgm:pt>
    <dgm:pt modelId="{9F18A953-A213-46FF-A26D-6FB60F318DFE}" type="parTrans" cxnId="{30F4366E-FBE9-4282-9BD7-E95D9EE802F2}">
      <dgm:prSet/>
      <dgm:spPr/>
      <dgm:t>
        <a:bodyPr/>
        <a:lstStyle/>
        <a:p>
          <a:endParaRPr lang="en-US"/>
        </a:p>
      </dgm:t>
    </dgm:pt>
    <dgm:pt modelId="{EA9F7CCE-C5FE-43B9-907D-DD44E40A7225}" type="sibTrans" cxnId="{30F4366E-FBE9-4282-9BD7-E95D9EE802F2}">
      <dgm:prSet/>
      <dgm:spPr/>
      <dgm:t>
        <a:bodyPr/>
        <a:lstStyle/>
        <a:p>
          <a:endParaRPr lang="en-US"/>
        </a:p>
      </dgm:t>
    </dgm:pt>
    <dgm:pt modelId="{A68D9E11-E8B3-4153-BFC6-AA6F7D798C07}">
      <dgm:prSet phldrT="[Text]"/>
      <dgm:spPr/>
      <dgm:t>
        <a:bodyPr/>
        <a:lstStyle/>
        <a:p>
          <a:r>
            <a:rPr lang="en-US" noProof="0" dirty="0" err="1"/>
            <a:t>WebAPI</a:t>
          </a:r>
          <a:r>
            <a:rPr lang="en-US" noProof="0" dirty="0"/>
            <a:t> test module</a:t>
          </a:r>
          <a:endParaRPr lang="en-US" dirty="0"/>
        </a:p>
      </dgm:t>
    </dgm:pt>
    <dgm:pt modelId="{8172F92C-C2E4-4CBF-8799-5187D21C7F4F}" type="parTrans" cxnId="{52B8E8A6-C39D-4E38-B661-EDE88511F2A8}">
      <dgm:prSet/>
      <dgm:spPr/>
      <dgm:t>
        <a:bodyPr/>
        <a:lstStyle/>
        <a:p>
          <a:endParaRPr lang="en-US"/>
        </a:p>
      </dgm:t>
    </dgm:pt>
    <dgm:pt modelId="{C2F98F36-B10F-41F1-8523-A86028E1C41B}" type="sibTrans" cxnId="{52B8E8A6-C39D-4E38-B661-EDE88511F2A8}">
      <dgm:prSet/>
      <dgm:spPr/>
      <dgm:t>
        <a:bodyPr/>
        <a:lstStyle/>
        <a:p>
          <a:endParaRPr lang="en-US"/>
        </a:p>
      </dgm:t>
    </dgm:pt>
    <dgm:pt modelId="{37B2AC3D-ADEC-4902-B409-124B36218243}">
      <dgm:prSet phldrT="[Text]"/>
      <dgm:spPr/>
      <dgm:t>
        <a:bodyPr/>
        <a:lstStyle/>
        <a:p>
          <a:r>
            <a:rPr lang="en-US" noProof="0" dirty="0"/>
            <a:t>Security test module</a:t>
          </a:r>
          <a:endParaRPr lang="en-US" dirty="0"/>
        </a:p>
      </dgm:t>
    </dgm:pt>
    <dgm:pt modelId="{0DD05157-DA2C-4AA9-9263-E115F6FFD2F6}" type="parTrans" cxnId="{713750A5-CE10-4A4B-BD87-F9B04F922B2D}">
      <dgm:prSet/>
      <dgm:spPr/>
      <dgm:t>
        <a:bodyPr/>
        <a:lstStyle/>
        <a:p>
          <a:endParaRPr lang="en-US"/>
        </a:p>
      </dgm:t>
    </dgm:pt>
    <dgm:pt modelId="{26E6277B-F987-4FC1-AA5E-A95893C792FF}" type="sibTrans" cxnId="{713750A5-CE10-4A4B-BD87-F9B04F922B2D}">
      <dgm:prSet/>
      <dgm:spPr/>
      <dgm:t>
        <a:bodyPr/>
        <a:lstStyle/>
        <a:p>
          <a:endParaRPr lang="en-US"/>
        </a:p>
      </dgm:t>
    </dgm:pt>
    <dgm:pt modelId="{EDED11B1-241F-457B-9BF5-9D9953C1FE50}">
      <dgm:prSet phldrT="[Text]"/>
      <dgm:spPr/>
      <dgm:t>
        <a:bodyPr/>
        <a:lstStyle/>
        <a:p>
          <a:r>
            <a:rPr lang="en-US" noProof="0" dirty="0"/>
            <a:t>Database test module</a:t>
          </a:r>
          <a:endParaRPr lang="en-US" dirty="0"/>
        </a:p>
      </dgm:t>
    </dgm:pt>
    <dgm:pt modelId="{72544CC5-2AC2-429A-B359-26C206E534BE}" type="parTrans" cxnId="{B05A93A4-F73C-43DD-84B9-A1D23B18A79E}">
      <dgm:prSet/>
      <dgm:spPr/>
      <dgm:t>
        <a:bodyPr/>
        <a:lstStyle/>
        <a:p>
          <a:endParaRPr lang="en-US"/>
        </a:p>
      </dgm:t>
    </dgm:pt>
    <dgm:pt modelId="{8A50D8DE-B287-4F4C-8CB1-A04611C216BF}" type="sibTrans" cxnId="{B05A93A4-F73C-43DD-84B9-A1D23B18A79E}">
      <dgm:prSet/>
      <dgm:spPr/>
      <dgm:t>
        <a:bodyPr/>
        <a:lstStyle/>
        <a:p>
          <a:endParaRPr lang="en-US"/>
        </a:p>
      </dgm:t>
    </dgm:pt>
    <dgm:pt modelId="{5C962CEC-A360-4F47-8BFB-A13FA1997B4A}">
      <dgm:prSet phldrT="[Text]"/>
      <dgm:spPr/>
      <dgm:t>
        <a:bodyPr/>
        <a:lstStyle/>
        <a:p>
          <a:r>
            <a:rPr lang="en-US" noProof="0" dirty="0"/>
            <a:t>Standalone app test module *</a:t>
          </a:r>
          <a:endParaRPr lang="en-US" dirty="0"/>
        </a:p>
      </dgm:t>
    </dgm:pt>
    <dgm:pt modelId="{7AF9BE38-0341-415D-9DAE-25790BC42166}" type="parTrans" cxnId="{B0BD1503-EFC7-48E4-8E65-3DFAD8709B96}">
      <dgm:prSet/>
      <dgm:spPr/>
      <dgm:t>
        <a:bodyPr/>
        <a:lstStyle/>
        <a:p>
          <a:endParaRPr lang="en-US"/>
        </a:p>
      </dgm:t>
    </dgm:pt>
    <dgm:pt modelId="{7EFE109D-529A-43E2-B12C-00EDE1B7B304}" type="sibTrans" cxnId="{B0BD1503-EFC7-48E4-8E65-3DFAD8709B96}">
      <dgm:prSet/>
      <dgm:spPr/>
      <dgm:t>
        <a:bodyPr/>
        <a:lstStyle/>
        <a:p>
          <a:endParaRPr lang="en-US"/>
        </a:p>
      </dgm:t>
    </dgm:pt>
    <dgm:pt modelId="{1ACBF3B4-31EC-4571-B989-AEF742B15A2D}">
      <dgm:prSet phldrT="[Text]"/>
      <dgm:spPr/>
      <dgm:t>
        <a:bodyPr/>
        <a:lstStyle/>
        <a:p>
          <a:r>
            <a:rPr lang="en-US" noProof="0"/>
            <a:t>Mobile App test module *</a:t>
          </a:r>
          <a:endParaRPr lang="en-US" dirty="0"/>
        </a:p>
      </dgm:t>
    </dgm:pt>
    <dgm:pt modelId="{DDDB0689-F8EB-47BE-A852-006DD839FEFF}" type="parTrans" cxnId="{134A1F36-A55F-462E-AEFC-77DE2CADF500}">
      <dgm:prSet/>
      <dgm:spPr/>
      <dgm:t>
        <a:bodyPr/>
        <a:lstStyle/>
        <a:p>
          <a:endParaRPr lang="en-US"/>
        </a:p>
      </dgm:t>
    </dgm:pt>
    <dgm:pt modelId="{F9FEB248-69C5-42AF-A2E4-6CD59E9B2DB2}" type="sibTrans" cxnId="{134A1F36-A55F-462E-AEFC-77DE2CADF500}">
      <dgm:prSet/>
      <dgm:spPr/>
      <dgm:t>
        <a:bodyPr/>
        <a:lstStyle/>
        <a:p>
          <a:endParaRPr lang="en-US"/>
        </a:p>
      </dgm:t>
    </dgm:pt>
    <dgm:pt modelId="{1EF9D8C6-9790-4C4F-8FE6-E04F03172AC2}" type="pres">
      <dgm:prSet presAssocID="{3F740A5E-0832-4BFA-B3EF-E90F4C28131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E3AF46AB-FC96-40D3-A0F7-36E42575DE93}" type="pres">
      <dgm:prSet presAssocID="{B5BE5DD3-305E-4EDD-B2C9-62672F72316C}" presName="root1" presStyleCnt="0"/>
      <dgm:spPr/>
    </dgm:pt>
    <dgm:pt modelId="{C0CC0A14-F1A7-49BB-A9EB-9E225AC19760}" type="pres">
      <dgm:prSet presAssocID="{B5BE5DD3-305E-4EDD-B2C9-62672F72316C}" presName="LevelOneTextNode" presStyleLbl="node0" presStyleIdx="0" presStyleCnt="1">
        <dgm:presLayoutVars>
          <dgm:chPref val="3"/>
        </dgm:presLayoutVars>
      </dgm:prSet>
      <dgm:spPr/>
    </dgm:pt>
    <dgm:pt modelId="{23A9FFDE-E9CD-4C0F-A3A9-1B47557C5A8D}" type="pres">
      <dgm:prSet presAssocID="{B5BE5DD3-305E-4EDD-B2C9-62672F72316C}" presName="level2hierChild" presStyleCnt="0"/>
      <dgm:spPr/>
    </dgm:pt>
    <dgm:pt modelId="{5B9B95F2-2FBE-442C-82FE-4464E94DEFB7}" type="pres">
      <dgm:prSet presAssocID="{9F18A953-A213-46FF-A26D-6FB60F318DFE}" presName="conn2-1" presStyleLbl="parChTrans1D2" presStyleIdx="0" presStyleCnt="6"/>
      <dgm:spPr/>
    </dgm:pt>
    <dgm:pt modelId="{B8183056-A10F-4195-A353-BB97B01F1A55}" type="pres">
      <dgm:prSet presAssocID="{9F18A953-A213-46FF-A26D-6FB60F318DFE}" presName="connTx" presStyleLbl="parChTrans1D2" presStyleIdx="0" presStyleCnt="6"/>
      <dgm:spPr/>
    </dgm:pt>
    <dgm:pt modelId="{703AD1A7-C2D0-4B5B-95E8-623E322D1A83}" type="pres">
      <dgm:prSet presAssocID="{8FA3C78F-ED5B-4D2D-A474-DEF01202F5B8}" presName="root2" presStyleCnt="0"/>
      <dgm:spPr/>
    </dgm:pt>
    <dgm:pt modelId="{E6405A4F-8107-43D1-A649-4A7F943E6B6C}" type="pres">
      <dgm:prSet presAssocID="{8FA3C78F-ED5B-4D2D-A474-DEF01202F5B8}" presName="LevelTwoTextNode" presStyleLbl="node2" presStyleIdx="0" presStyleCnt="6">
        <dgm:presLayoutVars>
          <dgm:chPref val="3"/>
        </dgm:presLayoutVars>
      </dgm:prSet>
      <dgm:spPr/>
    </dgm:pt>
    <dgm:pt modelId="{0E819C19-4A85-469C-A1C8-5F59A708309E}" type="pres">
      <dgm:prSet presAssocID="{8FA3C78F-ED5B-4D2D-A474-DEF01202F5B8}" presName="level3hierChild" presStyleCnt="0"/>
      <dgm:spPr/>
    </dgm:pt>
    <dgm:pt modelId="{7069569A-E5DC-4F37-B2E0-CEE096DC0182}" type="pres">
      <dgm:prSet presAssocID="{8172F92C-C2E4-4CBF-8799-5187D21C7F4F}" presName="conn2-1" presStyleLbl="parChTrans1D2" presStyleIdx="1" presStyleCnt="6"/>
      <dgm:spPr/>
    </dgm:pt>
    <dgm:pt modelId="{01871764-C845-4942-A262-56DE04693114}" type="pres">
      <dgm:prSet presAssocID="{8172F92C-C2E4-4CBF-8799-5187D21C7F4F}" presName="connTx" presStyleLbl="parChTrans1D2" presStyleIdx="1" presStyleCnt="6"/>
      <dgm:spPr/>
    </dgm:pt>
    <dgm:pt modelId="{BF56F92C-279E-411B-B09E-D4537093D871}" type="pres">
      <dgm:prSet presAssocID="{A68D9E11-E8B3-4153-BFC6-AA6F7D798C07}" presName="root2" presStyleCnt="0"/>
      <dgm:spPr/>
    </dgm:pt>
    <dgm:pt modelId="{12985A5E-1A18-455A-99CD-E482E2ADF5F5}" type="pres">
      <dgm:prSet presAssocID="{A68D9E11-E8B3-4153-BFC6-AA6F7D798C07}" presName="LevelTwoTextNode" presStyleLbl="node2" presStyleIdx="1" presStyleCnt="6">
        <dgm:presLayoutVars>
          <dgm:chPref val="3"/>
        </dgm:presLayoutVars>
      </dgm:prSet>
      <dgm:spPr/>
    </dgm:pt>
    <dgm:pt modelId="{458F7C39-3DF5-4690-A410-86C3FBA3E857}" type="pres">
      <dgm:prSet presAssocID="{A68D9E11-E8B3-4153-BFC6-AA6F7D798C07}" presName="level3hierChild" presStyleCnt="0"/>
      <dgm:spPr/>
    </dgm:pt>
    <dgm:pt modelId="{DEC54B5E-09D1-46D5-9D9B-4164DAEE12C3}" type="pres">
      <dgm:prSet presAssocID="{0DD05157-DA2C-4AA9-9263-E115F6FFD2F6}" presName="conn2-1" presStyleLbl="parChTrans1D2" presStyleIdx="2" presStyleCnt="6"/>
      <dgm:spPr/>
    </dgm:pt>
    <dgm:pt modelId="{E4C17EAD-3CE2-4A61-8FD4-0B0725BB0EB2}" type="pres">
      <dgm:prSet presAssocID="{0DD05157-DA2C-4AA9-9263-E115F6FFD2F6}" presName="connTx" presStyleLbl="parChTrans1D2" presStyleIdx="2" presStyleCnt="6"/>
      <dgm:spPr/>
    </dgm:pt>
    <dgm:pt modelId="{95224A92-5BDD-45BB-9F6C-35A107CA9405}" type="pres">
      <dgm:prSet presAssocID="{37B2AC3D-ADEC-4902-B409-124B36218243}" presName="root2" presStyleCnt="0"/>
      <dgm:spPr/>
    </dgm:pt>
    <dgm:pt modelId="{0F9A4093-A706-4EF7-9166-6B4197BEDFEC}" type="pres">
      <dgm:prSet presAssocID="{37B2AC3D-ADEC-4902-B409-124B36218243}" presName="LevelTwoTextNode" presStyleLbl="node2" presStyleIdx="2" presStyleCnt="6">
        <dgm:presLayoutVars>
          <dgm:chPref val="3"/>
        </dgm:presLayoutVars>
      </dgm:prSet>
      <dgm:spPr/>
    </dgm:pt>
    <dgm:pt modelId="{F7E79ED6-6D01-4502-BE28-AD81937DFA30}" type="pres">
      <dgm:prSet presAssocID="{37B2AC3D-ADEC-4902-B409-124B36218243}" presName="level3hierChild" presStyleCnt="0"/>
      <dgm:spPr/>
    </dgm:pt>
    <dgm:pt modelId="{CED8ED8D-9F01-44F3-9083-CCFF5C14B8EE}" type="pres">
      <dgm:prSet presAssocID="{72544CC5-2AC2-429A-B359-26C206E534BE}" presName="conn2-1" presStyleLbl="parChTrans1D2" presStyleIdx="3" presStyleCnt="6"/>
      <dgm:spPr/>
    </dgm:pt>
    <dgm:pt modelId="{B876AA45-256E-4CFD-B59B-AC3AACECA50F}" type="pres">
      <dgm:prSet presAssocID="{72544CC5-2AC2-429A-B359-26C206E534BE}" presName="connTx" presStyleLbl="parChTrans1D2" presStyleIdx="3" presStyleCnt="6"/>
      <dgm:spPr/>
    </dgm:pt>
    <dgm:pt modelId="{CBD9AE5C-33F5-49F5-8E7A-10157F1294FE}" type="pres">
      <dgm:prSet presAssocID="{EDED11B1-241F-457B-9BF5-9D9953C1FE50}" presName="root2" presStyleCnt="0"/>
      <dgm:spPr/>
    </dgm:pt>
    <dgm:pt modelId="{CDEF24C7-E992-40CC-A594-215235EFF130}" type="pres">
      <dgm:prSet presAssocID="{EDED11B1-241F-457B-9BF5-9D9953C1FE50}" presName="LevelTwoTextNode" presStyleLbl="node2" presStyleIdx="3" presStyleCnt="6">
        <dgm:presLayoutVars>
          <dgm:chPref val="3"/>
        </dgm:presLayoutVars>
      </dgm:prSet>
      <dgm:spPr/>
    </dgm:pt>
    <dgm:pt modelId="{E8B90A68-293C-47C2-A4D6-2D2A7B687CE5}" type="pres">
      <dgm:prSet presAssocID="{EDED11B1-241F-457B-9BF5-9D9953C1FE50}" presName="level3hierChild" presStyleCnt="0"/>
      <dgm:spPr/>
    </dgm:pt>
    <dgm:pt modelId="{B45BB27D-FF6C-448E-96C9-983767BCD3D0}" type="pres">
      <dgm:prSet presAssocID="{DDDB0689-F8EB-47BE-A852-006DD839FEFF}" presName="conn2-1" presStyleLbl="parChTrans1D2" presStyleIdx="4" presStyleCnt="6"/>
      <dgm:spPr/>
    </dgm:pt>
    <dgm:pt modelId="{C6748A6E-E022-47D4-9729-5F2285FB30D3}" type="pres">
      <dgm:prSet presAssocID="{DDDB0689-F8EB-47BE-A852-006DD839FEFF}" presName="connTx" presStyleLbl="parChTrans1D2" presStyleIdx="4" presStyleCnt="6"/>
      <dgm:spPr/>
    </dgm:pt>
    <dgm:pt modelId="{2841BA58-D304-4287-AD5E-7CFAE647E88D}" type="pres">
      <dgm:prSet presAssocID="{1ACBF3B4-31EC-4571-B989-AEF742B15A2D}" presName="root2" presStyleCnt="0"/>
      <dgm:spPr/>
    </dgm:pt>
    <dgm:pt modelId="{1A7037C3-0CE3-40E4-AC30-C025DBE4DD9E}" type="pres">
      <dgm:prSet presAssocID="{1ACBF3B4-31EC-4571-B989-AEF742B15A2D}" presName="LevelTwoTextNode" presStyleLbl="node2" presStyleIdx="4" presStyleCnt="6">
        <dgm:presLayoutVars>
          <dgm:chPref val="3"/>
        </dgm:presLayoutVars>
      </dgm:prSet>
      <dgm:spPr/>
    </dgm:pt>
    <dgm:pt modelId="{903C1469-39BD-4D8A-AEF7-6A4CAF937EBC}" type="pres">
      <dgm:prSet presAssocID="{1ACBF3B4-31EC-4571-B989-AEF742B15A2D}" presName="level3hierChild" presStyleCnt="0"/>
      <dgm:spPr/>
    </dgm:pt>
    <dgm:pt modelId="{94732934-316F-4E87-A726-DFC8F3AE0F0F}" type="pres">
      <dgm:prSet presAssocID="{7AF9BE38-0341-415D-9DAE-25790BC42166}" presName="conn2-1" presStyleLbl="parChTrans1D2" presStyleIdx="5" presStyleCnt="6"/>
      <dgm:spPr/>
    </dgm:pt>
    <dgm:pt modelId="{9DD8B15E-74A5-4101-852B-47B5F33737D7}" type="pres">
      <dgm:prSet presAssocID="{7AF9BE38-0341-415D-9DAE-25790BC42166}" presName="connTx" presStyleLbl="parChTrans1D2" presStyleIdx="5" presStyleCnt="6"/>
      <dgm:spPr/>
    </dgm:pt>
    <dgm:pt modelId="{E627E444-9491-45E7-B829-37AFA5755D15}" type="pres">
      <dgm:prSet presAssocID="{5C962CEC-A360-4F47-8BFB-A13FA1997B4A}" presName="root2" presStyleCnt="0"/>
      <dgm:spPr/>
    </dgm:pt>
    <dgm:pt modelId="{9472C209-8B78-4B3F-8C18-E09400E9885B}" type="pres">
      <dgm:prSet presAssocID="{5C962CEC-A360-4F47-8BFB-A13FA1997B4A}" presName="LevelTwoTextNode" presStyleLbl="node2" presStyleIdx="5" presStyleCnt="6">
        <dgm:presLayoutVars>
          <dgm:chPref val="3"/>
        </dgm:presLayoutVars>
      </dgm:prSet>
      <dgm:spPr/>
    </dgm:pt>
    <dgm:pt modelId="{259C4BDC-AC51-46F0-A4BE-407E205CA30E}" type="pres">
      <dgm:prSet presAssocID="{5C962CEC-A360-4F47-8BFB-A13FA1997B4A}" presName="level3hierChild" presStyleCnt="0"/>
      <dgm:spPr/>
    </dgm:pt>
  </dgm:ptLst>
  <dgm:cxnLst>
    <dgm:cxn modelId="{B0BD1503-EFC7-48E4-8E65-3DFAD8709B96}" srcId="{B5BE5DD3-305E-4EDD-B2C9-62672F72316C}" destId="{5C962CEC-A360-4F47-8BFB-A13FA1997B4A}" srcOrd="5" destOrd="0" parTransId="{7AF9BE38-0341-415D-9DAE-25790BC42166}" sibTransId="{7EFE109D-529A-43E2-B12C-00EDE1B7B304}"/>
    <dgm:cxn modelId="{EE48F805-FD4D-404F-B0E7-46895AF53C06}" type="presOf" srcId="{9F18A953-A213-46FF-A26D-6FB60F318DFE}" destId="{5B9B95F2-2FBE-442C-82FE-4464E94DEFB7}" srcOrd="0" destOrd="0" presId="urn:microsoft.com/office/officeart/2008/layout/HorizontalMultiLevelHierarchy"/>
    <dgm:cxn modelId="{5B4C0810-13BA-4027-A2C9-58CBB2C733A8}" type="presOf" srcId="{72544CC5-2AC2-429A-B359-26C206E534BE}" destId="{CED8ED8D-9F01-44F3-9083-CCFF5C14B8EE}" srcOrd="0" destOrd="0" presId="urn:microsoft.com/office/officeart/2008/layout/HorizontalMultiLevelHierarchy"/>
    <dgm:cxn modelId="{1C4C2A2E-5B14-44CA-AD6F-5E860D986DA2}" type="presOf" srcId="{37B2AC3D-ADEC-4902-B409-124B36218243}" destId="{0F9A4093-A706-4EF7-9166-6B4197BEDFEC}" srcOrd="0" destOrd="0" presId="urn:microsoft.com/office/officeart/2008/layout/HorizontalMultiLevelHierarchy"/>
    <dgm:cxn modelId="{6E917133-10BD-4443-8BB4-FA62A4170083}" type="presOf" srcId="{3F740A5E-0832-4BFA-B3EF-E90F4C281312}" destId="{1EF9D8C6-9790-4C4F-8FE6-E04F03172AC2}" srcOrd="0" destOrd="0" presId="urn:microsoft.com/office/officeart/2008/layout/HorizontalMultiLevelHierarchy"/>
    <dgm:cxn modelId="{134A1F36-A55F-462E-AEFC-77DE2CADF500}" srcId="{B5BE5DD3-305E-4EDD-B2C9-62672F72316C}" destId="{1ACBF3B4-31EC-4571-B989-AEF742B15A2D}" srcOrd="4" destOrd="0" parTransId="{DDDB0689-F8EB-47BE-A852-006DD839FEFF}" sibTransId="{F9FEB248-69C5-42AF-A2E4-6CD59E9B2DB2}"/>
    <dgm:cxn modelId="{D7F03963-5AE7-45DA-919A-94A7D97E4FFB}" type="presOf" srcId="{0DD05157-DA2C-4AA9-9263-E115F6FFD2F6}" destId="{E4C17EAD-3CE2-4A61-8FD4-0B0725BB0EB2}" srcOrd="1" destOrd="0" presId="urn:microsoft.com/office/officeart/2008/layout/HorizontalMultiLevelHierarchy"/>
    <dgm:cxn modelId="{D8618644-597B-474D-8021-D4FDACC6D009}" type="presOf" srcId="{8172F92C-C2E4-4CBF-8799-5187D21C7F4F}" destId="{01871764-C845-4942-A262-56DE04693114}" srcOrd="1" destOrd="0" presId="urn:microsoft.com/office/officeart/2008/layout/HorizontalMultiLevelHierarchy"/>
    <dgm:cxn modelId="{02749E4A-A5AE-418D-B5A3-4BE4DE73E4A0}" type="presOf" srcId="{EDED11B1-241F-457B-9BF5-9D9953C1FE50}" destId="{CDEF24C7-E992-40CC-A594-215235EFF130}" srcOrd="0" destOrd="0" presId="urn:microsoft.com/office/officeart/2008/layout/HorizontalMultiLevelHierarchy"/>
    <dgm:cxn modelId="{B16C586C-283B-41DA-A6A4-37B77524C263}" type="presOf" srcId="{7AF9BE38-0341-415D-9DAE-25790BC42166}" destId="{9DD8B15E-74A5-4101-852B-47B5F33737D7}" srcOrd="1" destOrd="0" presId="urn:microsoft.com/office/officeart/2008/layout/HorizontalMultiLevelHierarchy"/>
    <dgm:cxn modelId="{A09EA86D-CB34-40B8-A56F-0494CBE77D88}" type="presOf" srcId="{A68D9E11-E8B3-4153-BFC6-AA6F7D798C07}" destId="{12985A5E-1A18-455A-99CD-E482E2ADF5F5}" srcOrd="0" destOrd="0" presId="urn:microsoft.com/office/officeart/2008/layout/HorizontalMultiLevelHierarchy"/>
    <dgm:cxn modelId="{30F4366E-FBE9-4282-9BD7-E95D9EE802F2}" srcId="{B5BE5DD3-305E-4EDD-B2C9-62672F72316C}" destId="{8FA3C78F-ED5B-4D2D-A474-DEF01202F5B8}" srcOrd="0" destOrd="0" parTransId="{9F18A953-A213-46FF-A26D-6FB60F318DFE}" sibTransId="{EA9F7CCE-C5FE-43B9-907D-DD44E40A7225}"/>
    <dgm:cxn modelId="{5408BA57-F407-4203-B5B5-B9D66BD84F2F}" type="presOf" srcId="{9F18A953-A213-46FF-A26D-6FB60F318DFE}" destId="{B8183056-A10F-4195-A353-BB97B01F1A55}" srcOrd="1" destOrd="0" presId="urn:microsoft.com/office/officeart/2008/layout/HorizontalMultiLevelHierarchy"/>
    <dgm:cxn modelId="{39B55E7C-AB6C-4017-BE9C-D0148D5BF40D}" type="presOf" srcId="{DDDB0689-F8EB-47BE-A852-006DD839FEFF}" destId="{B45BB27D-FF6C-448E-96C9-983767BCD3D0}" srcOrd="0" destOrd="0" presId="urn:microsoft.com/office/officeart/2008/layout/HorizontalMultiLevelHierarchy"/>
    <dgm:cxn modelId="{DAF4B591-421A-469B-9E3A-CF80D3E9B250}" srcId="{3F740A5E-0832-4BFA-B3EF-E90F4C281312}" destId="{B5BE5DD3-305E-4EDD-B2C9-62672F72316C}" srcOrd="0" destOrd="0" parTransId="{A6693A5A-27D7-4739-91F7-AC61EFBF04AA}" sibTransId="{53A23696-9436-407A-A3C0-4189FF6C5EA7}"/>
    <dgm:cxn modelId="{4F6A6F94-EFB4-4BF9-B3ED-1C078490C2FA}" type="presOf" srcId="{1ACBF3B4-31EC-4571-B989-AEF742B15A2D}" destId="{1A7037C3-0CE3-40E4-AC30-C025DBE4DD9E}" srcOrd="0" destOrd="0" presId="urn:microsoft.com/office/officeart/2008/layout/HorizontalMultiLevelHierarchy"/>
    <dgm:cxn modelId="{0783DDA3-AC3A-4ABC-B3A3-467B6D18F8A1}" type="presOf" srcId="{5C962CEC-A360-4F47-8BFB-A13FA1997B4A}" destId="{9472C209-8B78-4B3F-8C18-E09400E9885B}" srcOrd="0" destOrd="0" presId="urn:microsoft.com/office/officeart/2008/layout/HorizontalMultiLevelHierarchy"/>
    <dgm:cxn modelId="{B05A93A4-F73C-43DD-84B9-A1D23B18A79E}" srcId="{B5BE5DD3-305E-4EDD-B2C9-62672F72316C}" destId="{EDED11B1-241F-457B-9BF5-9D9953C1FE50}" srcOrd="3" destOrd="0" parTransId="{72544CC5-2AC2-429A-B359-26C206E534BE}" sibTransId="{8A50D8DE-B287-4F4C-8CB1-A04611C216BF}"/>
    <dgm:cxn modelId="{713750A5-CE10-4A4B-BD87-F9B04F922B2D}" srcId="{B5BE5DD3-305E-4EDD-B2C9-62672F72316C}" destId="{37B2AC3D-ADEC-4902-B409-124B36218243}" srcOrd="2" destOrd="0" parTransId="{0DD05157-DA2C-4AA9-9263-E115F6FFD2F6}" sibTransId="{26E6277B-F987-4FC1-AA5E-A95893C792FF}"/>
    <dgm:cxn modelId="{52B8E8A6-C39D-4E38-B661-EDE88511F2A8}" srcId="{B5BE5DD3-305E-4EDD-B2C9-62672F72316C}" destId="{A68D9E11-E8B3-4153-BFC6-AA6F7D798C07}" srcOrd="1" destOrd="0" parTransId="{8172F92C-C2E4-4CBF-8799-5187D21C7F4F}" sibTransId="{C2F98F36-B10F-41F1-8523-A86028E1C41B}"/>
    <dgm:cxn modelId="{2AE881CA-34F1-4370-8B3C-BDAB6C4E0B3F}" type="presOf" srcId="{8FA3C78F-ED5B-4D2D-A474-DEF01202F5B8}" destId="{E6405A4F-8107-43D1-A649-4A7F943E6B6C}" srcOrd="0" destOrd="0" presId="urn:microsoft.com/office/officeart/2008/layout/HorizontalMultiLevelHierarchy"/>
    <dgm:cxn modelId="{C29E01D6-EE69-4749-8F42-096B5038BA34}" type="presOf" srcId="{72544CC5-2AC2-429A-B359-26C206E534BE}" destId="{B876AA45-256E-4CFD-B59B-AC3AACECA50F}" srcOrd="1" destOrd="0" presId="urn:microsoft.com/office/officeart/2008/layout/HorizontalMultiLevelHierarchy"/>
    <dgm:cxn modelId="{B0175CD8-B953-4DD3-BD80-BA9B1FBA125F}" type="presOf" srcId="{0DD05157-DA2C-4AA9-9263-E115F6FFD2F6}" destId="{DEC54B5E-09D1-46D5-9D9B-4164DAEE12C3}" srcOrd="0" destOrd="0" presId="urn:microsoft.com/office/officeart/2008/layout/HorizontalMultiLevelHierarchy"/>
    <dgm:cxn modelId="{C3CD3BED-E2D9-4754-BB97-6284DC5ECBB4}" type="presOf" srcId="{7AF9BE38-0341-415D-9DAE-25790BC42166}" destId="{94732934-316F-4E87-A726-DFC8F3AE0F0F}" srcOrd="0" destOrd="0" presId="urn:microsoft.com/office/officeart/2008/layout/HorizontalMultiLevelHierarchy"/>
    <dgm:cxn modelId="{956812F6-6B43-487C-B0A0-21C58BA5C46E}" type="presOf" srcId="{B5BE5DD3-305E-4EDD-B2C9-62672F72316C}" destId="{C0CC0A14-F1A7-49BB-A9EB-9E225AC19760}" srcOrd="0" destOrd="0" presId="urn:microsoft.com/office/officeart/2008/layout/HorizontalMultiLevelHierarchy"/>
    <dgm:cxn modelId="{863111FA-D161-400C-A3EA-FBA3CE451B7C}" type="presOf" srcId="{8172F92C-C2E4-4CBF-8799-5187D21C7F4F}" destId="{7069569A-E5DC-4F37-B2E0-CEE096DC0182}" srcOrd="0" destOrd="0" presId="urn:microsoft.com/office/officeart/2008/layout/HorizontalMultiLevelHierarchy"/>
    <dgm:cxn modelId="{AFEB33FB-D4DD-4918-8CE3-9DC3C7BCD23F}" type="presOf" srcId="{DDDB0689-F8EB-47BE-A852-006DD839FEFF}" destId="{C6748A6E-E022-47D4-9729-5F2285FB30D3}" srcOrd="1" destOrd="0" presId="urn:microsoft.com/office/officeart/2008/layout/HorizontalMultiLevelHierarchy"/>
    <dgm:cxn modelId="{B6C38DD3-EE19-4AE9-941D-3A8D8730B612}" type="presParOf" srcId="{1EF9D8C6-9790-4C4F-8FE6-E04F03172AC2}" destId="{E3AF46AB-FC96-40D3-A0F7-36E42575DE93}" srcOrd="0" destOrd="0" presId="urn:microsoft.com/office/officeart/2008/layout/HorizontalMultiLevelHierarchy"/>
    <dgm:cxn modelId="{682D0600-59EB-4193-BB50-96F7B16D5F03}" type="presParOf" srcId="{E3AF46AB-FC96-40D3-A0F7-36E42575DE93}" destId="{C0CC0A14-F1A7-49BB-A9EB-9E225AC19760}" srcOrd="0" destOrd="0" presId="urn:microsoft.com/office/officeart/2008/layout/HorizontalMultiLevelHierarchy"/>
    <dgm:cxn modelId="{57DBE9C2-10DE-4436-89DF-DF31382B9BD3}" type="presParOf" srcId="{E3AF46AB-FC96-40D3-A0F7-36E42575DE93}" destId="{23A9FFDE-E9CD-4C0F-A3A9-1B47557C5A8D}" srcOrd="1" destOrd="0" presId="urn:microsoft.com/office/officeart/2008/layout/HorizontalMultiLevelHierarchy"/>
    <dgm:cxn modelId="{F68808D2-F10C-4FA6-83E2-16D373F5A4AF}" type="presParOf" srcId="{23A9FFDE-E9CD-4C0F-A3A9-1B47557C5A8D}" destId="{5B9B95F2-2FBE-442C-82FE-4464E94DEFB7}" srcOrd="0" destOrd="0" presId="urn:microsoft.com/office/officeart/2008/layout/HorizontalMultiLevelHierarchy"/>
    <dgm:cxn modelId="{8EA328FF-8E54-4B5F-B7C1-A3B329659785}" type="presParOf" srcId="{5B9B95F2-2FBE-442C-82FE-4464E94DEFB7}" destId="{B8183056-A10F-4195-A353-BB97B01F1A55}" srcOrd="0" destOrd="0" presId="urn:microsoft.com/office/officeart/2008/layout/HorizontalMultiLevelHierarchy"/>
    <dgm:cxn modelId="{3F8FC480-5C8D-4159-8C43-99D668C21FD2}" type="presParOf" srcId="{23A9FFDE-E9CD-4C0F-A3A9-1B47557C5A8D}" destId="{703AD1A7-C2D0-4B5B-95E8-623E322D1A83}" srcOrd="1" destOrd="0" presId="urn:microsoft.com/office/officeart/2008/layout/HorizontalMultiLevelHierarchy"/>
    <dgm:cxn modelId="{B4444E1C-7436-4E7E-A734-E914D14F0DC5}" type="presParOf" srcId="{703AD1A7-C2D0-4B5B-95E8-623E322D1A83}" destId="{E6405A4F-8107-43D1-A649-4A7F943E6B6C}" srcOrd="0" destOrd="0" presId="urn:microsoft.com/office/officeart/2008/layout/HorizontalMultiLevelHierarchy"/>
    <dgm:cxn modelId="{A7556112-55C0-424B-9ADA-7B85E6D14CE8}" type="presParOf" srcId="{703AD1A7-C2D0-4B5B-95E8-623E322D1A83}" destId="{0E819C19-4A85-469C-A1C8-5F59A708309E}" srcOrd="1" destOrd="0" presId="urn:microsoft.com/office/officeart/2008/layout/HorizontalMultiLevelHierarchy"/>
    <dgm:cxn modelId="{C920832C-16D8-41FF-AA9C-C6B01012E0E2}" type="presParOf" srcId="{23A9FFDE-E9CD-4C0F-A3A9-1B47557C5A8D}" destId="{7069569A-E5DC-4F37-B2E0-CEE096DC0182}" srcOrd="2" destOrd="0" presId="urn:microsoft.com/office/officeart/2008/layout/HorizontalMultiLevelHierarchy"/>
    <dgm:cxn modelId="{B11258BC-09EC-4121-B8CD-FAD656F9E6BA}" type="presParOf" srcId="{7069569A-E5DC-4F37-B2E0-CEE096DC0182}" destId="{01871764-C845-4942-A262-56DE04693114}" srcOrd="0" destOrd="0" presId="urn:microsoft.com/office/officeart/2008/layout/HorizontalMultiLevelHierarchy"/>
    <dgm:cxn modelId="{CD3C62C6-B9F6-4D06-92F5-57CDC108BDE9}" type="presParOf" srcId="{23A9FFDE-E9CD-4C0F-A3A9-1B47557C5A8D}" destId="{BF56F92C-279E-411B-B09E-D4537093D871}" srcOrd="3" destOrd="0" presId="urn:microsoft.com/office/officeart/2008/layout/HorizontalMultiLevelHierarchy"/>
    <dgm:cxn modelId="{5D3A075C-40F2-49CB-A612-498F6FD7035D}" type="presParOf" srcId="{BF56F92C-279E-411B-B09E-D4537093D871}" destId="{12985A5E-1A18-455A-99CD-E482E2ADF5F5}" srcOrd="0" destOrd="0" presId="urn:microsoft.com/office/officeart/2008/layout/HorizontalMultiLevelHierarchy"/>
    <dgm:cxn modelId="{D1CE7F77-EE2D-4A01-B35B-2F661D5DAC65}" type="presParOf" srcId="{BF56F92C-279E-411B-B09E-D4537093D871}" destId="{458F7C39-3DF5-4690-A410-86C3FBA3E857}" srcOrd="1" destOrd="0" presId="urn:microsoft.com/office/officeart/2008/layout/HorizontalMultiLevelHierarchy"/>
    <dgm:cxn modelId="{9A3D67EE-CDA0-43A6-BAC5-ACA9AB3BF049}" type="presParOf" srcId="{23A9FFDE-E9CD-4C0F-A3A9-1B47557C5A8D}" destId="{DEC54B5E-09D1-46D5-9D9B-4164DAEE12C3}" srcOrd="4" destOrd="0" presId="urn:microsoft.com/office/officeart/2008/layout/HorizontalMultiLevelHierarchy"/>
    <dgm:cxn modelId="{EDEB7DAE-B96C-4064-8171-9C52D187C0B8}" type="presParOf" srcId="{DEC54B5E-09D1-46D5-9D9B-4164DAEE12C3}" destId="{E4C17EAD-3CE2-4A61-8FD4-0B0725BB0EB2}" srcOrd="0" destOrd="0" presId="urn:microsoft.com/office/officeart/2008/layout/HorizontalMultiLevelHierarchy"/>
    <dgm:cxn modelId="{A5A3D331-0262-4450-BDF1-B78880434A44}" type="presParOf" srcId="{23A9FFDE-E9CD-4C0F-A3A9-1B47557C5A8D}" destId="{95224A92-5BDD-45BB-9F6C-35A107CA9405}" srcOrd="5" destOrd="0" presId="urn:microsoft.com/office/officeart/2008/layout/HorizontalMultiLevelHierarchy"/>
    <dgm:cxn modelId="{4B2C9368-25C5-4CE7-927F-1551DE522833}" type="presParOf" srcId="{95224A92-5BDD-45BB-9F6C-35A107CA9405}" destId="{0F9A4093-A706-4EF7-9166-6B4197BEDFEC}" srcOrd="0" destOrd="0" presId="urn:microsoft.com/office/officeart/2008/layout/HorizontalMultiLevelHierarchy"/>
    <dgm:cxn modelId="{23EA547A-8310-42A7-9F11-38146532AA78}" type="presParOf" srcId="{95224A92-5BDD-45BB-9F6C-35A107CA9405}" destId="{F7E79ED6-6D01-4502-BE28-AD81937DFA30}" srcOrd="1" destOrd="0" presId="urn:microsoft.com/office/officeart/2008/layout/HorizontalMultiLevelHierarchy"/>
    <dgm:cxn modelId="{ED0FE947-2E14-4B06-8BF6-123A8150336E}" type="presParOf" srcId="{23A9FFDE-E9CD-4C0F-A3A9-1B47557C5A8D}" destId="{CED8ED8D-9F01-44F3-9083-CCFF5C14B8EE}" srcOrd="6" destOrd="0" presId="urn:microsoft.com/office/officeart/2008/layout/HorizontalMultiLevelHierarchy"/>
    <dgm:cxn modelId="{7C18E1F4-2AFD-446F-A08E-25FF07612954}" type="presParOf" srcId="{CED8ED8D-9F01-44F3-9083-CCFF5C14B8EE}" destId="{B876AA45-256E-4CFD-B59B-AC3AACECA50F}" srcOrd="0" destOrd="0" presId="urn:microsoft.com/office/officeart/2008/layout/HorizontalMultiLevelHierarchy"/>
    <dgm:cxn modelId="{00506409-4F6A-4109-A59C-9E17CC207FB9}" type="presParOf" srcId="{23A9FFDE-E9CD-4C0F-A3A9-1B47557C5A8D}" destId="{CBD9AE5C-33F5-49F5-8E7A-10157F1294FE}" srcOrd="7" destOrd="0" presId="urn:microsoft.com/office/officeart/2008/layout/HorizontalMultiLevelHierarchy"/>
    <dgm:cxn modelId="{FBE7E276-3948-4308-BF35-7B2230905518}" type="presParOf" srcId="{CBD9AE5C-33F5-49F5-8E7A-10157F1294FE}" destId="{CDEF24C7-E992-40CC-A594-215235EFF130}" srcOrd="0" destOrd="0" presId="urn:microsoft.com/office/officeart/2008/layout/HorizontalMultiLevelHierarchy"/>
    <dgm:cxn modelId="{9AECE81A-AB7B-4C44-B887-2855AB7C7A24}" type="presParOf" srcId="{CBD9AE5C-33F5-49F5-8E7A-10157F1294FE}" destId="{E8B90A68-293C-47C2-A4D6-2D2A7B687CE5}" srcOrd="1" destOrd="0" presId="urn:microsoft.com/office/officeart/2008/layout/HorizontalMultiLevelHierarchy"/>
    <dgm:cxn modelId="{232B67FB-2B26-409A-AB32-73ADBBFCE294}" type="presParOf" srcId="{23A9FFDE-E9CD-4C0F-A3A9-1B47557C5A8D}" destId="{B45BB27D-FF6C-448E-96C9-983767BCD3D0}" srcOrd="8" destOrd="0" presId="urn:microsoft.com/office/officeart/2008/layout/HorizontalMultiLevelHierarchy"/>
    <dgm:cxn modelId="{E36EF156-7732-49C1-9765-4131649EDA0F}" type="presParOf" srcId="{B45BB27D-FF6C-448E-96C9-983767BCD3D0}" destId="{C6748A6E-E022-47D4-9729-5F2285FB30D3}" srcOrd="0" destOrd="0" presId="urn:microsoft.com/office/officeart/2008/layout/HorizontalMultiLevelHierarchy"/>
    <dgm:cxn modelId="{BE1AEAA6-6AC2-45B8-8735-98C1E636FB0D}" type="presParOf" srcId="{23A9FFDE-E9CD-4C0F-A3A9-1B47557C5A8D}" destId="{2841BA58-D304-4287-AD5E-7CFAE647E88D}" srcOrd="9" destOrd="0" presId="urn:microsoft.com/office/officeart/2008/layout/HorizontalMultiLevelHierarchy"/>
    <dgm:cxn modelId="{54E3C189-AED2-49DD-84D4-65761501F38F}" type="presParOf" srcId="{2841BA58-D304-4287-AD5E-7CFAE647E88D}" destId="{1A7037C3-0CE3-40E4-AC30-C025DBE4DD9E}" srcOrd="0" destOrd="0" presId="urn:microsoft.com/office/officeart/2008/layout/HorizontalMultiLevelHierarchy"/>
    <dgm:cxn modelId="{D87A7E87-1F74-4D84-8E41-CE1592546EB7}" type="presParOf" srcId="{2841BA58-D304-4287-AD5E-7CFAE647E88D}" destId="{903C1469-39BD-4D8A-AEF7-6A4CAF937EBC}" srcOrd="1" destOrd="0" presId="urn:microsoft.com/office/officeart/2008/layout/HorizontalMultiLevelHierarchy"/>
    <dgm:cxn modelId="{5EDDD439-2A3A-45FB-B3D3-6FA17F25BE5E}" type="presParOf" srcId="{23A9FFDE-E9CD-4C0F-A3A9-1B47557C5A8D}" destId="{94732934-316F-4E87-A726-DFC8F3AE0F0F}" srcOrd="10" destOrd="0" presId="urn:microsoft.com/office/officeart/2008/layout/HorizontalMultiLevelHierarchy"/>
    <dgm:cxn modelId="{69556A08-AD90-406B-A76D-EDDB1D4C68BB}" type="presParOf" srcId="{94732934-316F-4E87-A726-DFC8F3AE0F0F}" destId="{9DD8B15E-74A5-4101-852B-47B5F33737D7}" srcOrd="0" destOrd="0" presId="urn:microsoft.com/office/officeart/2008/layout/HorizontalMultiLevelHierarchy"/>
    <dgm:cxn modelId="{34DCAEBE-0E38-407F-9A0D-87E61C00C3D5}" type="presParOf" srcId="{23A9FFDE-E9CD-4C0F-A3A9-1B47557C5A8D}" destId="{E627E444-9491-45E7-B829-37AFA5755D15}" srcOrd="11" destOrd="0" presId="urn:microsoft.com/office/officeart/2008/layout/HorizontalMultiLevelHierarchy"/>
    <dgm:cxn modelId="{5B483797-8477-417E-B076-1D66D8636922}" type="presParOf" srcId="{E627E444-9491-45E7-B829-37AFA5755D15}" destId="{9472C209-8B78-4B3F-8C18-E09400E9885B}" srcOrd="0" destOrd="0" presId="urn:microsoft.com/office/officeart/2008/layout/HorizontalMultiLevelHierarchy"/>
    <dgm:cxn modelId="{E5A1A496-44F1-4BB4-BE9E-21636D1ED979}" type="presParOf" srcId="{E627E444-9491-45E7-B829-37AFA5755D15}" destId="{259C4BDC-AC51-46F0-A4BE-407E205CA30E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960133" y="0"/>
          <a:ext cx="960133" cy="792110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400" kern="1200"/>
          </a:br>
          <a:r>
            <a:rPr lang="en-US" sz="2400" kern="1200"/>
            <a:t>UI</a:t>
          </a:r>
          <a:endParaRPr lang="en-US" sz="2400" kern="1200" dirty="0"/>
        </a:p>
      </dsp:txBody>
      <dsp:txXfrm>
        <a:off x="960133" y="0"/>
        <a:ext cx="960133" cy="792110"/>
      </dsp:txXfrm>
    </dsp:sp>
    <dsp:sp modelId="{3DF1A04F-9824-4FA2-8E9B-69197A34DB02}">
      <dsp:nvSpPr>
        <dsp:cNvPr id="0" name=""/>
        <dsp:cNvSpPr/>
      </dsp:nvSpPr>
      <dsp:spPr>
        <a:xfrm>
          <a:off x="480066" y="792110"/>
          <a:ext cx="1920266" cy="792110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277290"/>
            <a:satOff val="-25946"/>
            <a:lumOff val="18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PI</a:t>
          </a:r>
        </a:p>
      </dsp:txBody>
      <dsp:txXfrm>
        <a:off x="816113" y="792110"/>
        <a:ext cx="1248173" cy="792110"/>
      </dsp:txXfrm>
    </dsp:sp>
    <dsp:sp modelId="{D9074314-C21A-447C-9E4D-59C6F495C412}">
      <dsp:nvSpPr>
        <dsp:cNvPr id="0" name=""/>
        <dsp:cNvSpPr/>
      </dsp:nvSpPr>
      <dsp:spPr>
        <a:xfrm>
          <a:off x="0" y="1584220"/>
          <a:ext cx="2880399" cy="792110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554580"/>
            <a:satOff val="-51893"/>
            <a:lumOff val="3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Unit</a:t>
          </a:r>
        </a:p>
      </dsp:txBody>
      <dsp:txXfrm>
        <a:off x="504069" y="1584220"/>
        <a:ext cx="1872260" cy="79211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35F8B4-2A29-48E0-BE3F-6C005296EF88}">
      <dsp:nvSpPr>
        <dsp:cNvPr id="0" name=""/>
        <dsp:cNvSpPr/>
      </dsp:nvSpPr>
      <dsp:spPr>
        <a:xfrm>
          <a:off x="2074008" y="2201333"/>
          <a:ext cx="548748" cy="10456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4374" y="0"/>
              </a:lnTo>
              <a:lnTo>
                <a:pt x="274374" y="1045633"/>
              </a:lnTo>
              <a:lnTo>
                <a:pt x="548748" y="104563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318860" y="2694628"/>
        <a:ext cx="59043" cy="59043"/>
      </dsp:txXfrm>
    </dsp:sp>
    <dsp:sp modelId="{4D0365CF-6D31-4918-98F2-1E086D6CF83F}">
      <dsp:nvSpPr>
        <dsp:cNvPr id="0" name=""/>
        <dsp:cNvSpPr/>
      </dsp:nvSpPr>
      <dsp:spPr>
        <a:xfrm>
          <a:off x="2074008" y="2155613"/>
          <a:ext cx="54874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8748" y="4572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334663" y="2187614"/>
        <a:ext cx="27437" cy="27437"/>
      </dsp:txXfrm>
    </dsp:sp>
    <dsp:sp modelId="{C5347D16-69A4-4A1C-911A-BE9E3ACB07FA}">
      <dsp:nvSpPr>
        <dsp:cNvPr id="0" name=""/>
        <dsp:cNvSpPr/>
      </dsp:nvSpPr>
      <dsp:spPr>
        <a:xfrm>
          <a:off x="2074008" y="1155700"/>
          <a:ext cx="548748" cy="1045633"/>
        </a:xfrm>
        <a:custGeom>
          <a:avLst/>
          <a:gdLst/>
          <a:ahLst/>
          <a:cxnLst/>
          <a:rect l="0" t="0" r="0" b="0"/>
          <a:pathLst>
            <a:path>
              <a:moveTo>
                <a:pt x="0" y="1045633"/>
              </a:moveTo>
              <a:lnTo>
                <a:pt x="274374" y="1045633"/>
              </a:lnTo>
              <a:lnTo>
                <a:pt x="274374" y="0"/>
              </a:lnTo>
              <a:lnTo>
                <a:pt x="548748" y="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318860" y="1648994"/>
        <a:ext cx="59043" cy="59043"/>
      </dsp:txXfrm>
    </dsp:sp>
    <dsp:sp modelId="{8B2D18F4-2303-41EA-9C6A-DBA0FC292FE4}">
      <dsp:nvSpPr>
        <dsp:cNvPr id="0" name=""/>
        <dsp:cNvSpPr/>
      </dsp:nvSpPr>
      <dsp:spPr>
        <a:xfrm rot="16200000">
          <a:off x="-545578" y="1783080"/>
          <a:ext cx="4402667" cy="83650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35" tIns="26035" rIns="26035" bIns="26035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4100" kern="1200" dirty="0"/>
            <a:t>Framework backend</a:t>
          </a:r>
          <a:endParaRPr lang="en-US" sz="4100" kern="1200" dirty="0"/>
        </a:p>
      </dsp:txBody>
      <dsp:txXfrm>
        <a:off x="-545578" y="1783080"/>
        <a:ext cx="4402667" cy="836506"/>
      </dsp:txXfrm>
    </dsp:sp>
    <dsp:sp modelId="{A865B8FE-204B-458F-AD2A-174048ABFDAA}">
      <dsp:nvSpPr>
        <dsp:cNvPr id="0" name=""/>
        <dsp:cNvSpPr/>
      </dsp:nvSpPr>
      <dsp:spPr>
        <a:xfrm>
          <a:off x="2622756" y="737446"/>
          <a:ext cx="2743742" cy="836506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Selenium Grid infrastructure</a:t>
          </a:r>
          <a:endParaRPr lang="en-US" sz="2800" kern="1200" dirty="0"/>
        </a:p>
      </dsp:txBody>
      <dsp:txXfrm>
        <a:off x="2622756" y="737446"/>
        <a:ext cx="2743742" cy="836506"/>
      </dsp:txXfrm>
    </dsp:sp>
    <dsp:sp modelId="{41688CBD-0D4D-494F-BC13-6D079E734E6E}">
      <dsp:nvSpPr>
        <dsp:cNvPr id="0" name=""/>
        <dsp:cNvSpPr/>
      </dsp:nvSpPr>
      <dsp:spPr>
        <a:xfrm>
          <a:off x="2622756" y="1783080"/>
          <a:ext cx="2743742" cy="836506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DevOps infrastructure</a:t>
          </a:r>
        </a:p>
      </dsp:txBody>
      <dsp:txXfrm>
        <a:off x="2622756" y="1783080"/>
        <a:ext cx="2743742" cy="836506"/>
      </dsp:txXfrm>
    </dsp:sp>
    <dsp:sp modelId="{EE086444-574C-4D71-8BB2-09D0D33133C9}">
      <dsp:nvSpPr>
        <dsp:cNvPr id="0" name=""/>
        <dsp:cNvSpPr/>
      </dsp:nvSpPr>
      <dsp:spPr>
        <a:xfrm>
          <a:off x="2622756" y="2828713"/>
          <a:ext cx="2743742" cy="836506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Mobile Grid infrastructure *</a:t>
          </a:r>
        </a:p>
      </dsp:txBody>
      <dsp:txXfrm>
        <a:off x="2622756" y="2828713"/>
        <a:ext cx="2743742" cy="83650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4D588B-2C5E-413E-8FB3-A45A598FE77E}">
      <dsp:nvSpPr>
        <dsp:cNvPr id="0" name=""/>
        <dsp:cNvSpPr/>
      </dsp:nvSpPr>
      <dsp:spPr>
        <a:xfrm>
          <a:off x="1900" y="1945744"/>
          <a:ext cx="2848683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/>
            <a:t>Database module</a:t>
          </a:r>
        </a:p>
      </dsp:txBody>
      <dsp:txXfrm>
        <a:off x="28348" y="1972192"/>
        <a:ext cx="2795787" cy="850091"/>
      </dsp:txXfrm>
    </dsp:sp>
    <dsp:sp modelId="{CDB456C7-FEB2-4189-8DB4-859E0B913BE7}">
      <dsp:nvSpPr>
        <dsp:cNvPr id="0" name=""/>
        <dsp:cNvSpPr/>
      </dsp:nvSpPr>
      <dsp:spPr>
        <a:xfrm>
          <a:off x="2393549" y="47228"/>
          <a:ext cx="454754" cy="1854329"/>
        </a:xfrm>
        <a:prstGeom prst="roundRect">
          <a:avLst>
            <a:gd name="adj" fmla="val 1000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Security module</a:t>
          </a:r>
        </a:p>
      </dsp:txBody>
      <dsp:txXfrm>
        <a:off x="2406868" y="60547"/>
        <a:ext cx="428116" cy="1827691"/>
      </dsp:txXfrm>
    </dsp:sp>
    <dsp:sp modelId="{79946D67-CF20-4533-873C-9747C402A031}">
      <dsp:nvSpPr>
        <dsp:cNvPr id="0" name=""/>
        <dsp:cNvSpPr/>
      </dsp:nvSpPr>
      <dsp:spPr>
        <a:xfrm>
          <a:off x="2853" y="1006663"/>
          <a:ext cx="2350169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WebAPI module</a:t>
          </a:r>
        </a:p>
      </dsp:txBody>
      <dsp:txXfrm>
        <a:off x="29301" y="1033111"/>
        <a:ext cx="2297273" cy="850091"/>
      </dsp:txXfrm>
    </dsp:sp>
    <dsp:sp modelId="{7951CDCD-4F97-4CCA-8C56-4992B72B07BB}">
      <dsp:nvSpPr>
        <dsp:cNvPr id="0" name=""/>
        <dsp:cNvSpPr/>
      </dsp:nvSpPr>
      <dsp:spPr>
        <a:xfrm>
          <a:off x="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/>
            <a:t>UI (Selenium) module</a:t>
          </a:r>
        </a:p>
      </dsp:txBody>
      <dsp:txXfrm>
        <a:off x="13320" y="87488"/>
        <a:ext cx="428116" cy="876349"/>
      </dsp:txXfrm>
    </dsp:sp>
    <dsp:sp modelId="{16415C91-F210-4416-A0F4-1AA0347D5471}">
      <dsp:nvSpPr>
        <dsp:cNvPr id="0" name=""/>
        <dsp:cNvSpPr/>
      </dsp:nvSpPr>
      <dsp:spPr>
        <a:xfrm>
          <a:off x="473714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/>
            <a:t>Selenium Grid</a:t>
          </a:r>
        </a:p>
      </dsp:txBody>
      <dsp:txXfrm>
        <a:off x="487033" y="87488"/>
        <a:ext cx="428116" cy="876349"/>
      </dsp:txXfrm>
    </dsp:sp>
    <dsp:sp modelId="{D8A6C93A-917D-4567-B16D-E30EEE8A93BD}">
      <dsp:nvSpPr>
        <dsp:cNvPr id="0" name=""/>
        <dsp:cNvSpPr/>
      </dsp:nvSpPr>
      <dsp:spPr>
        <a:xfrm>
          <a:off x="947567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 dirty="0"/>
            <a:t>Mobile (</a:t>
          </a:r>
          <a:r>
            <a:rPr lang="en-US" sz="600" kern="1200" noProof="0" dirty="0" err="1"/>
            <a:t>Appium</a:t>
          </a:r>
          <a:r>
            <a:rPr lang="en-US" sz="600" kern="1200" noProof="0" dirty="0"/>
            <a:t>) app</a:t>
          </a:r>
          <a:r>
            <a:rPr lang="pl-PL" sz="600" kern="1200" noProof="0" dirty="0"/>
            <a:t> *</a:t>
          </a:r>
          <a:endParaRPr lang="en-US" sz="600" kern="1200" noProof="0" dirty="0"/>
        </a:p>
      </dsp:txBody>
      <dsp:txXfrm>
        <a:off x="960886" y="87488"/>
        <a:ext cx="428116" cy="876349"/>
      </dsp:txXfrm>
    </dsp:sp>
    <dsp:sp modelId="{10845D90-6534-40EB-8279-CF7912BF2E6A}">
      <dsp:nvSpPr>
        <dsp:cNvPr id="0" name=""/>
        <dsp:cNvSpPr/>
      </dsp:nvSpPr>
      <dsp:spPr>
        <a:xfrm>
          <a:off x="142142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 dirty="0"/>
            <a:t>Mobile </a:t>
          </a:r>
          <a:br>
            <a:rPr lang="pl-PL" sz="600" kern="1200" noProof="0" dirty="0"/>
          </a:br>
          <a:r>
            <a:rPr lang="en-US" sz="600" kern="1200" noProof="0" dirty="0"/>
            <a:t>Grid</a:t>
          </a:r>
          <a:r>
            <a:rPr lang="pl-PL" sz="600" kern="1200" noProof="0" dirty="0"/>
            <a:t> *</a:t>
          </a:r>
          <a:endParaRPr lang="en-US" sz="600" kern="1200" noProof="0" dirty="0"/>
        </a:p>
      </dsp:txBody>
      <dsp:txXfrm>
        <a:off x="1434740" y="87488"/>
        <a:ext cx="428116" cy="876349"/>
      </dsp:txXfrm>
    </dsp:sp>
    <dsp:sp modelId="{9A46057F-5CDA-4B57-BF6D-897D216AF86F}">
      <dsp:nvSpPr>
        <dsp:cNvPr id="0" name=""/>
        <dsp:cNvSpPr/>
      </dsp:nvSpPr>
      <dsp:spPr>
        <a:xfrm>
          <a:off x="1895275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noProof="0" dirty="0"/>
            <a:t>Standalone APP</a:t>
          </a:r>
          <a:r>
            <a:rPr lang="pl-PL" sz="600" kern="1200" noProof="0" dirty="0"/>
            <a:t> *</a:t>
          </a:r>
          <a:endParaRPr lang="en-US" sz="600" kern="1200" noProof="0" dirty="0"/>
        </a:p>
      </dsp:txBody>
      <dsp:txXfrm>
        <a:off x="1908594" y="87488"/>
        <a:ext cx="428116" cy="876349"/>
      </dsp:txXfrm>
    </dsp:sp>
    <dsp:sp modelId="{1F321622-6935-42D4-AE83-D556256DD586}">
      <dsp:nvSpPr>
        <dsp:cNvPr id="0" name=""/>
        <dsp:cNvSpPr/>
      </dsp:nvSpPr>
      <dsp:spPr>
        <a:xfrm>
          <a:off x="2894018" y="56369"/>
          <a:ext cx="455643" cy="2792362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/>
            <a:t>DevOps module</a:t>
          </a:r>
        </a:p>
      </dsp:txBody>
      <dsp:txXfrm>
        <a:off x="2907363" y="69714"/>
        <a:ext cx="428953" cy="2765672"/>
      </dsp:txXfrm>
    </dsp:sp>
    <dsp:sp modelId="{AF9421C1-0977-4165-AE01-1E0941FF1DC2}">
      <dsp:nvSpPr>
        <dsp:cNvPr id="0" name=""/>
        <dsp:cNvSpPr/>
      </dsp:nvSpPr>
      <dsp:spPr>
        <a:xfrm>
          <a:off x="3395794" y="56252"/>
          <a:ext cx="455643" cy="2791612"/>
        </a:xfrm>
        <a:prstGeom prst="roundRect">
          <a:avLst>
            <a:gd name="adj" fmla="val 10000"/>
          </a:avLst>
        </a:prstGeom>
        <a:solidFill>
          <a:srgbClr val="0085B3"/>
        </a:solidFill>
        <a:ln w="28575"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 dirty="0"/>
            <a:t>Test core module</a:t>
          </a:r>
        </a:p>
      </dsp:txBody>
      <dsp:txXfrm>
        <a:off x="3409139" y="69597"/>
        <a:ext cx="428953" cy="276492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600016" y="0"/>
          <a:ext cx="624556" cy="989360"/>
        </a:xfrm>
        <a:prstGeom prst="trapezoid">
          <a:avLst>
            <a:gd name="adj" fmla="val 50000"/>
          </a:avLst>
        </a:prstGeom>
        <a:solidFill>
          <a:srgbClr val="7030A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000" kern="1200" dirty="0"/>
          </a:br>
          <a:r>
            <a:rPr lang="en-US" sz="2000" kern="1200" dirty="0"/>
            <a:t>UI</a:t>
          </a:r>
        </a:p>
      </dsp:txBody>
      <dsp:txXfrm>
        <a:off x="600016" y="0"/>
        <a:ext cx="624556" cy="989360"/>
      </dsp:txXfrm>
    </dsp:sp>
    <dsp:sp modelId="{3DF1A04F-9824-4FA2-8E9B-69197A34DB02}">
      <dsp:nvSpPr>
        <dsp:cNvPr id="0" name=""/>
        <dsp:cNvSpPr/>
      </dsp:nvSpPr>
      <dsp:spPr>
        <a:xfrm>
          <a:off x="307783" y="978782"/>
          <a:ext cx="1215490" cy="936099"/>
        </a:xfrm>
        <a:prstGeom prst="trapezoid">
          <a:avLst>
            <a:gd name="adj" fmla="val 31564"/>
          </a:avLst>
        </a:prstGeom>
        <a:solidFill>
          <a:schemeClr val="accent3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PI</a:t>
          </a:r>
        </a:p>
      </dsp:txBody>
      <dsp:txXfrm>
        <a:off x="520494" y="978782"/>
        <a:ext cx="790068" cy="936099"/>
      </dsp:txXfrm>
    </dsp:sp>
    <dsp:sp modelId="{D9074314-C21A-447C-9E4D-59C6F495C412}">
      <dsp:nvSpPr>
        <dsp:cNvPr id="0" name=""/>
        <dsp:cNvSpPr/>
      </dsp:nvSpPr>
      <dsp:spPr>
        <a:xfrm>
          <a:off x="0" y="1925459"/>
          <a:ext cx="1818319" cy="954940"/>
        </a:xfrm>
        <a:prstGeom prst="trapezoid">
          <a:avLst>
            <a:gd name="adj" fmla="val 31564"/>
          </a:avLst>
        </a:prstGeom>
        <a:solidFill>
          <a:srgbClr val="FFC00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BACKEND</a:t>
          </a:r>
          <a:endParaRPr lang="en-US" sz="2000" kern="1200" dirty="0"/>
        </a:p>
      </dsp:txBody>
      <dsp:txXfrm>
        <a:off x="318205" y="1925459"/>
        <a:ext cx="1181907" cy="95494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114931" y="-783865"/>
          <a:ext cx="6093694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2BAD60-1173-4F05-AA2D-A6CC7480963C}">
      <dsp:nvSpPr>
        <dsp:cNvPr id="0" name=""/>
        <dsp:cNvSpPr/>
      </dsp:nvSpPr>
      <dsp:spPr>
        <a:xfrm>
          <a:off x="317496" y="205750"/>
          <a:ext cx="8537482" cy="4113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noProof="0" dirty="0"/>
            <a:t>Test report with logs and/or screenshots</a:t>
          </a:r>
          <a:endParaRPr lang="en-US" sz="2200" kern="1200" noProof="0" dirty="0"/>
        </a:p>
      </dsp:txBody>
      <dsp:txXfrm>
        <a:off x="317496" y="205750"/>
        <a:ext cx="8537482" cy="411319"/>
      </dsp:txXfrm>
    </dsp:sp>
    <dsp:sp modelId="{876AAFB9-EF87-4539-844B-B2D7225647F2}">
      <dsp:nvSpPr>
        <dsp:cNvPr id="0" name=""/>
        <dsp:cNvSpPr/>
      </dsp:nvSpPr>
      <dsp:spPr>
        <a:xfrm>
          <a:off x="60421" y="154335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E83F1C-CC72-4F68-9ECB-BA7C8F4350EF}">
      <dsp:nvSpPr>
        <dsp:cNvPr id="0" name=""/>
        <dsp:cNvSpPr/>
      </dsp:nvSpPr>
      <dsp:spPr>
        <a:xfrm>
          <a:off x="689983" y="823091"/>
          <a:ext cx="8164995" cy="41131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/>
            <a:t>Test groups/tags</a:t>
          </a:r>
          <a:endParaRPr lang="en-US" sz="2200" kern="1200" dirty="0"/>
        </a:p>
      </dsp:txBody>
      <dsp:txXfrm>
        <a:off x="689983" y="823091"/>
        <a:ext cx="8164995" cy="411319"/>
      </dsp:txXfrm>
    </dsp:sp>
    <dsp:sp modelId="{2DD28F3F-8955-489D-889B-C6E41AE5FA1D}">
      <dsp:nvSpPr>
        <dsp:cNvPr id="0" name=""/>
        <dsp:cNvSpPr/>
      </dsp:nvSpPr>
      <dsp:spPr>
        <a:xfrm>
          <a:off x="432908" y="771676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7A0B6C-4C65-44BC-B21C-AAF6F8AF38E8}">
      <dsp:nvSpPr>
        <dsp:cNvPr id="0" name=""/>
        <dsp:cNvSpPr/>
      </dsp:nvSpPr>
      <dsp:spPr>
        <a:xfrm>
          <a:off x="894103" y="1439980"/>
          <a:ext cx="7960874" cy="41131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/>
            <a:t>Data Driven (inside test case, external file) </a:t>
          </a:r>
          <a:endParaRPr lang="en-US" sz="2200" kern="1200" dirty="0"/>
        </a:p>
      </dsp:txBody>
      <dsp:txXfrm>
        <a:off x="894103" y="1439980"/>
        <a:ext cx="7960874" cy="411319"/>
      </dsp:txXfrm>
    </dsp:sp>
    <dsp:sp modelId="{5FBA14F6-BA1D-4D16-83B0-270970CAB886}">
      <dsp:nvSpPr>
        <dsp:cNvPr id="0" name=""/>
        <dsp:cNvSpPr/>
      </dsp:nvSpPr>
      <dsp:spPr>
        <a:xfrm>
          <a:off x="637029" y="1388565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11A2C5-F86A-43E0-9FAE-3A67569BA5B0}">
      <dsp:nvSpPr>
        <dsp:cNvPr id="0" name=""/>
        <dsp:cNvSpPr/>
      </dsp:nvSpPr>
      <dsp:spPr>
        <a:xfrm>
          <a:off x="959277" y="2057321"/>
          <a:ext cx="7895700" cy="41131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/>
            <a:t>Test case parallel execution</a:t>
          </a:r>
          <a:endParaRPr lang="en-US" sz="2200" kern="1200" dirty="0"/>
        </a:p>
      </dsp:txBody>
      <dsp:txXfrm>
        <a:off x="959277" y="2057321"/>
        <a:ext cx="7895700" cy="411319"/>
      </dsp:txXfrm>
    </dsp:sp>
    <dsp:sp modelId="{59FBA889-EC7D-49F7-81C3-DD02DF163D89}">
      <dsp:nvSpPr>
        <dsp:cNvPr id="0" name=""/>
        <dsp:cNvSpPr/>
      </dsp:nvSpPr>
      <dsp:spPr>
        <a:xfrm>
          <a:off x="702203" y="2005906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3461BD-7C47-4EE1-96A8-82A06184494F}">
      <dsp:nvSpPr>
        <dsp:cNvPr id="0" name=""/>
        <dsp:cNvSpPr/>
      </dsp:nvSpPr>
      <dsp:spPr>
        <a:xfrm>
          <a:off x="894103" y="2674663"/>
          <a:ext cx="7960874" cy="411319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/>
            <a:t>BDD - Gherkin – Cucumber approach</a:t>
          </a:r>
          <a:endParaRPr lang="en-US" sz="2200" kern="1200" dirty="0"/>
        </a:p>
      </dsp:txBody>
      <dsp:txXfrm>
        <a:off x="894103" y="2674663"/>
        <a:ext cx="7960874" cy="411319"/>
      </dsp:txXfrm>
    </dsp:sp>
    <dsp:sp modelId="{C69AC0EA-F0F5-4799-A5B2-7BF3B1CF7514}">
      <dsp:nvSpPr>
        <dsp:cNvPr id="0" name=""/>
        <dsp:cNvSpPr/>
      </dsp:nvSpPr>
      <dsp:spPr>
        <a:xfrm>
          <a:off x="637029" y="2623248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EB16FC-BC1B-4585-BA5F-5E1E9FF581BB}">
      <dsp:nvSpPr>
        <dsp:cNvPr id="0" name=""/>
        <dsp:cNvSpPr/>
      </dsp:nvSpPr>
      <dsp:spPr>
        <a:xfrm>
          <a:off x="689983" y="3291551"/>
          <a:ext cx="8164995" cy="4113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/>
            <a:t>Run on independent </a:t>
          </a:r>
          <a:r>
            <a:rPr lang="en-US" sz="2200" b="0" kern="1200" dirty="0" err="1"/>
            <a:t>OperatingSystem</a:t>
          </a:r>
          <a:endParaRPr lang="en-US" sz="2200" kern="1200" dirty="0"/>
        </a:p>
      </dsp:txBody>
      <dsp:txXfrm>
        <a:off x="689983" y="3291551"/>
        <a:ext cx="8164995" cy="411319"/>
      </dsp:txXfrm>
    </dsp:sp>
    <dsp:sp modelId="{A648D221-FF1E-41B1-982F-C0EFE4A686E7}">
      <dsp:nvSpPr>
        <dsp:cNvPr id="0" name=""/>
        <dsp:cNvSpPr/>
      </dsp:nvSpPr>
      <dsp:spPr>
        <a:xfrm>
          <a:off x="432908" y="3240136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765A12-1D16-4653-81E5-96196C38CD5E}">
      <dsp:nvSpPr>
        <dsp:cNvPr id="0" name=""/>
        <dsp:cNvSpPr/>
      </dsp:nvSpPr>
      <dsp:spPr>
        <a:xfrm>
          <a:off x="317496" y="3908893"/>
          <a:ext cx="8537482" cy="41131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6485" tIns="55880" rIns="55880" bIns="5588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noProof="0" dirty="0"/>
            <a:t>Externalize</a:t>
          </a:r>
          <a:r>
            <a:rPr lang="en-US" sz="2200" b="0" kern="1200" dirty="0"/>
            <a:t> test environment (DEV, QA, PROD)</a:t>
          </a:r>
          <a:endParaRPr lang="en-US" sz="2200" kern="1200" dirty="0"/>
        </a:p>
      </dsp:txBody>
      <dsp:txXfrm>
        <a:off x="317496" y="3908893"/>
        <a:ext cx="8537482" cy="411319"/>
      </dsp:txXfrm>
    </dsp:sp>
    <dsp:sp modelId="{F7C9F1C0-885E-414E-AA3A-26FA93C53DA2}">
      <dsp:nvSpPr>
        <dsp:cNvPr id="0" name=""/>
        <dsp:cNvSpPr/>
      </dsp:nvSpPr>
      <dsp:spPr>
        <a:xfrm>
          <a:off x="60421" y="3857478"/>
          <a:ext cx="514149" cy="5141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B58E56-F2F6-4FCB-BC3E-C54B62C0707E}">
      <dsp:nvSpPr>
        <dsp:cNvPr id="0" name=""/>
        <dsp:cNvSpPr/>
      </dsp:nvSpPr>
      <dsp:spPr>
        <a:xfrm>
          <a:off x="-5229" y="220133"/>
          <a:ext cx="3962400" cy="39624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D1863A5-F46C-485A-88C0-D67DCAAFC321}">
      <dsp:nvSpPr>
        <dsp:cNvPr id="0" name=""/>
        <dsp:cNvSpPr/>
      </dsp:nvSpPr>
      <dsp:spPr>
        <a:xfrm>
          <a:off x="1975970" y="220133"/>
          <a:ext cx="4622799" cy="396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500" kern="1200" dirty="0" err="1"/>
            <a:t>Regression</a:t>
          </a:r>
          <a:r>
            <a:rPr lang="pl-PL" sz="2500" kern="1200" dirty="0"/>
            <a:t> </a:t>
          </a:r>
          <a:r>
            <a:rPr lang="pl-PL" sz="2500" kern="1200" dirty="0" err="1"/>
            <a:t>Suite</a:t>
          </a:r>
          <a:endParaRPr lang="en-US" sz="2500" kern="1200" dirty="0"/>
        </a:p>
      </dsp:txBody>
      <dsp:txXfrm>
        <a:off x="1975970" y="220133"/>
        <a:ext cx="2311399" cy="1188722"/>
      </dsp:txXfrm>
    </dsp:sp>
    <dsp:sp modelId="{54B0664C-BC46-40A2-A84B-73DA6BC3B9EA}">
      <dsp:nvSpPr>
        <dsp:cNvPr id="0" name=""/>
        <dsp:cNvSpPr/>
      </dsp:nvSpPr>
      <dsp:spPr>
        <a:xfrm>
          <a:off x="688191" y="1408856"/>
          <a:ext cx="2575557" cy="2575557"/>
        </a:xfrm>
        <a:prstGeom prst="pie">
          <a:avLst>
            <a:gd name="adj1" fmla="val 5400000"/>
            <a:gd name="adj2" fmla="val 162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77D8835-4063-4D83-97A4-CB9ADBBE8933}">
      <dsp:nvSpPr>
        <dsp:cNvPr id="0" name=""/>
        <dsp:cNvSpPr/>
      </dsp:nvSpPr>
      <dsp:spPr>
        <a:xfrm>
          <a:off x="1975970" y="1408856"/>
          <a:ext cx="4622799" cy="25755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500" kern="1200" dirty="0" err="1"/>
            <a:t>Functional</a:t>
          </a:r>
          <a:r>
            <a:rPr lang="pl-PL" sz="2500" kern="1200" dirty="0"/>
            <a:t> </a:t>
          </a:r>
          <a:r>
            <a:rPr lang="pl-PL" sz="2500" kern="1200" dirty="0" err="1"/>
            <a:t>Suite</a:t>
          </a:r>
          <a:endParaRPr lang="en-US" sz="2500" kern="1200" dirty="0"/>
        </a:p>
      </dsp:txBody>
      <dsp:txXfrm>
        <a:off x="1975970" y="1408856"/>
        <a:ext cx="2311399" cy="1188718"/>
      </dsp:txXfrm>
    </dsp:sp>
    <dsp:sp modelId="{A5E9FFAD-F3B9-4646-A56B-BA5A44A102AB}">
      <dsp:nvSpPr>
        <dsp:cNvPr id="0" name=""/>
        <dsp:cNvSpPr/>
      </dsp:nvSpPr>
      <dsp:spPr>
        <a:xfrm>
          <a:off x="1381611" y="2597574"/>
          <a:ext cx="1188718" cy="1188718"/>
        </a:xfrm>
        <a:prstGeom prst="pie">
          <a:avLst>
            <a:gd name="adj1" fmla="val 5400000"/>
            <a:gd name="adj2" fmla="val 162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F36E8F1-0630-43E6-92AD-DABE519345AB}">
      <dsp:nvSpPr>
        <dsp:cNvPr id="0" name=""/>
        <dsp:cNvSpPr/>
      </dsp:nvSpPr>
      <dsp:spPr>
        <a:xfrm>
          <a:off x="1975970" y="2597574"/>
          <a:ext cx="4622799" cy="118871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500" kern="1200" dirty="0"/>
            <a:t>Single </a:t>
          </a:r>
          <a:r>
            <a:rPr lang="pl-PL" sz="2500" kern="1200" dirty="0" err="1"/>
            <a:t>Resposibilty</a:t>
          </a:r>
          <a:r>
            <a:rPr lang="pl-PL" sz="2500" kern="1200" dirty="0"/>
            <a:t> Unit</a:t>
          </a:r>
          <a:endParaRPr lang="en-US" sz="2500" kern="1200" dirty="0"/>
        </a:p>
      </dsp:txBody>
      <dsp:txXfrm>
        <a:off x="1975970" y="2597574"/>
        <a:ext cx="2311399" cy="1188718"/>
      </dsp:txXfrm>
    </dsp:sp>
    <dsp:sp modelId="{254B472F-A6E0-4905-9050-ECD41B0BFF9D}">
      <dsp:nvSpPr>
        <dsp:cNvPr id="0" name=""/>
        <dsp:cNvSpPr/>
      </dsp:nvSpPr>
      <dsp:spPr>
        <a:xfrm>
          <a:off x="4287370" y="220133"/>
          <a:ext cx="2311399" cy="1188722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 err="1"/>
            <a:t>Smok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/>
            <a:t>Business </a:t>
          </a:r>
          <a:r>
            <a:rPr lang="pl-PL" sz="1500" kern="1200" dirty="0" err="1"/>
            <a:t>vital</a:t>
          </a:r>
          <a:r>
            <a:rPr lang="pl-PL" sz="1500" kern="1200" dirty="0"/>
            <a:t> </a:t>
          </a:r>
          <a:r>
            <a:rPr lang="pl-PL" sz="1500" kern="1200" dirty="0" err="1"/>
            <a:t>functionalities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 err="1"/>
            <a:t>Full</a:t>
          </a:r>
          <a:r>
            <a:rPr lang="pl-PL" sz="1500" kern="1200" dirty="0"/>
            <a:t> </a:t>
          </a:r>
          <a:r>
            <a:rPr lang="pl-PL" sz="1500" kern="1200" dirty="0" err="1"/>
            <a:t>scope</a:t>
          </a:r>
          <a:r>
            <a:rPr lang="pl-PL" sz="1500" kern="1200" dirty="0"/>
            <a:t> of test </a:t>
          </a:r>
          <a:r>
            <a:rPr lang="pl-PL" sz="1500" kern="1200" dirty="0" err="1"/>
            <a:t>cases</a:t>
          </a:r>
          <a:r>
            <a:rPr lang="pl-PL" sz="1500" kern="1200" dirty="0"/>
            <a:t> </a:t>
          </a:r>
          <a:endParaRPr lang="en-US" sz="1500" kern="1200" dirty="0"/>
        </a:p>
      </dsp:txBody>
      <dsp:txXfrm>
        <a:off x="4287370" y="220133"/>
        <a:ext cx="2311399" cy="1188722"/>
      </dsp:txXfrm>
    </dsp:sp>
    <dsp:sp modelId="{0016F7D7-A3F5-4472-B04A-A9F6669B9345}">
      <dsp:nvSpPr>
        <dsp:cNvPr id="0" name=""/>
        <dsp:cNvSpPr/>
      </dsp:nvSpPr>
      <dsp:spPr>
        <a:xfrm>
          <a:off x="4276911" y="1408856"/>
          <a:ext cx="2332318" cy="118871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 err="1"/>
            <a:t>Smok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/>
            <a:t>Business </a:t>
          </a:r>
          <a:r>
            <a:rPr lang="pl-PL" sz="1500" kern="1200" dirty="0" err="1"/>
            <a:t>function</a:t>
          </a:r>
          <a:r>
            <a:rPr lang="pl-PL" sz="1500" kern="1200" dirty="0"/>
            <a:t> A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/>
            <a:t>Business </a:t>
          </a:r>
          <a:r>
            <a:rPr lang="pl-PL" sz="1500" kern="1200" dirty="0" err="1"/>
            <a:t>function</a:t>
          </a:r>
          <a:r>
            <a:rPr lang="pl-PL" sz="1500" kern="1200" dirty="0"/>
            <a:t> B</a:t>
          </a:r>
          <a:endParaRPr lang="en-US" sz="1500" kern="1200" dirty="0"/>
        </a:p>
      </dsp:txBody>
      <dsp:txXfrm>
        <a:off x="4276911" y="1408856"/>
        <a:ext cx="2332318" cy="1188718"/>
      </dsp:txXfrm>
    </dsp:sp>
    <dsp:sp modelId="{4E2A562A-D94B-4CCB-A5A1-826FCB96693B}">
      <dsp:nvSpPr>
        <dsp:cNvPr id="0" name=""/>
        <dsp:cNvSpPr/>
      </dsp:nvSpPr>
      <dsp:spPr>
        <a:xfrm>
          <a:off x="4287370" y="2597574"/>
          <a:ext cx="2311399" cy="118871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/>
            <a:t>Single Pag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500" kern="1200" dirty="0" err="1"/>
            <a:t>Specific</a:t>
          </a:r>
          <a:r>
            <a:rPr lang="pl-PL" sz="1500" kern="1200" dirty="0"/>
            <a:t> test </a:t>
          </a:r>
          <a:r>
            <a:rPr lang="pl-PL" sz="1500" kern="1200" dirty="0" err="1"/>
            <a:t>case</a:t>
          </a:r>
          <a:endParaRPr lang="en-US" sz="1500" kern="1200" dirty="0"/>
        </a:p>
      </dsp:txBody>
      <dsp:txXfrm>
        <a:off x="4287370" y="2597574"/>
        <a:ext cx="2311399" cy="118871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C04E1-1F35-474D-9584-DEEAFFB37109}">
      <dsp:nvSpPr>
        <dsp:cNvPr id="0" name=""/>
        <dsp:cNvSpPr/>
      </dsp:nvSpPr>
      <dsp:spPr>
        <a:xfrm rot="5400000">
          <a:off x="210" y="985855"/>
          <a:ext cx="2736499" cy="2736920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BCD574-0FA7-429A-8BBD-1C0EBC761359}">
      <dsp:nvSpPr>
        <dsp:cNvPr id="0" name=""/>
        <dsp:cNvSpPr/>
      </dsp:nvSpPr>
      <dsp:spPr>
        <a:xfrm rot="16200000">
          <a:off x="2816629" y="985855"/>
          <a:ext cx="2736499" cy="2736920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>
            <a:hueOff val="6494357"/>
            <a:satOff val="-6510"/>
            <a:lumOff val="-2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79ABD8-E68D-4FBB-B000-1246D223AC76}">
      <dsp:nvSpPr>
        <dsp:cNvPr id="0" name=""/>
        <dsp:cNvSpPr/>
      </dsp:nvSpPr>
      <dsp:spPr>
        <a:xfrm>
          <a:off x="3140212" y="3363138"/>
          <a:ext cx="2077740" cy="547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Test business </a:t>
          </a:r>
          <a:r>
            <a:rPr lang="pl-PL" sz="1800" kern="1200" dirty="0" err="1"/>
            <a:t>logic</a:t>
          </a:r>
          <a:endParaRPr lang="en-US" sz="1800" kern="1200" dirty="0"/>
        </a:p>
      </dsp:txBody>
      <dsp:txXfrm>
        <a:off x="3140212" y="3363138"/>
        <a:ext cx="2077740" cy="547475"/>
      </dsp:txXfrm>
    </dsp:sp>
    <dsp:sp modelId="{54E02888-B6B8-4216-B09F-2B325AC78DB9}">
      <dsp:nvSpPr>
        <dsp:cNvPr id="0" name=""/>
        <dsp:cNvSpPr/>
      </dsp:nvSpPr>
      <dsp:spPr>
        <a:xfrm rot="5400000">
          <a:off x="2728849" y="985855"/>
          <a:ext cx="2736499" cy="2736920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>
            <a:hueOff val="12988714"/>
            <a:satOff val="-13019"/>
            <a:lumOff val="-5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A24F46-C32B-4686-9C85-0D9041815A10}">
      <dsp:nvSpPr>
        <dsp:cNvPr id="0" name=""/>
        <dsp:cNvSpPr/>
      </dsp:nvSpPr>
      <dsp:spPr>
        <a:xfrm rot="16200000">
          <a:off x="5544440" y="985855"/>
          <a:ext cx="2736499" cy="2736920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>
            <a:hueOff val="19483070"/>
            <a:satOff val="-19529"/>
            <a:lumOff val="-7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646570-A412-4923-9FAD-FF3735EC1263}">
      <dsp:nvSpPr>
        <dsp:cNvPr id="0" name=""/>
        <dsp:cNvSpPr/>
      </dsp:nvSpPr>
      <dsp:spPr>
        <a:xfrm>
          <a:off x="5668447" y="3363138"/>
          <a:ext cx="2077740" cy="547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Test Case</a:t>
          </a:r>
          <a:endParaRPr lang="en-US" sz="1800" kern="1200" dirty="0"/>
        </a:p>
      </dsp:txBody>
      <dsp:txXfrm>
        <a:off x="5668447" y="3363138"/>
        <a:ext cx="2077740" cy="547475"/>
      </dsp:txXfrm>
    </dsp:sp>
    <dsp:sp modelId="{55923353-1891-4C3C-93A2-DC1C2A904F6E}">
      <dsp:nvSpPr>
        <dsp:cNvPr id="0" name=""/>
        <dsp:cNvSpPr/>
      </dsp:nvSpPr>
      <dsp:spPr>
        <a:xfrm>
          <a:off x="3191893" y="1437908"/>
          <a:ext cx="1920550" cy="1920550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As a $</a:t>
          </a:r>
          <a:r>
            <a:rPr lang="pl-PL" sz="1800" kern="1200" dirty="0" err="1"/>
            <a:t>user</a:t>
          </a:r>
          <a:r>
            <a:rPr lang="pl-PL" sz="1800" kern="1200" dirty="0"/>
            <a:t> I </a:t>
          </a:r>
          <a:r>
            <a:rPr lang="pl-PL" sz="1800" kern="1200" dirty="0" err="1"/>
            <a:t>should</a:t>
          </a:r>
          <a:r>
            <a:rPr lang="pl-PL" sz="1800" kern="1200" dirty="0"/>
            <a:t> ….</a:t>
          </a:r>
          <a:endParaRPr lang="en-US" sz="1800" kern="1200" dirty="0"/>
        </a:p>
      </dsp:txBody>
      <dsp:txXfrm>
        <a:off x="3576003" y="1629963"/>
        <a:ext cx="1152330" cy="1536440"/>
      </dsp:txXfrm>
    </dsp:sp>
    <dsp:sp modelId="{37FF8F7C-333B-4D15-A0BA-1767EE597530}">
      <dsp:nvSpPr>
        <dsp:cNvPr id="0" name=""/>
        <dsp:cNvSpPr/>
      </dsp:nvSpPr>
      <dsp:spPr>
        <a:xfrm>
          <a:off x="454945" y="864116"/>
          <a:ext cx="1417318" cy="1330174"/>
        </a:xfrm>
        <a:prstGeom prst="ellipse">
          <a:avLst/>
        </a:prstGeom>
        <a:solidFill>
          <a:schemeClr val="accent2">
            <a:alpha val="50000"/>
            <a:hueOff val="3896614"/>
            <a:satOff val="-3906"/>
            <a:lumOff val="-152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600" kern="1200" dirty="0" err="1"/>
            <a:t>Internal</a:t>
          </a:r>
          <a:r>
            <a:rPr lang="pl-PL" sz="1600" kern="1200" dirty="0"/>
            <a:t> data </a:t>
          </a:r>
          <a:r>
            <a:rPr lang="pl-PL" sz="1600" kern="1200" dirty="0" err="1"/>
            <a:t>feed</a:t>
          </a:r>
          <a:endParaRPr lang="en-US" sz="16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100" kern="1200" dirty="0"/>
            <a:t>Data </a:t>
          </a:r>
          <a:r>
            <a:rPr lang="pl-PL" sz="1100" kern="1200" dirty="0" err="1"/>
            <a:t>table</a:t>
          </a:r>
          <a:endParaRPr lang="en-US" sz="1100" kern="1200" dirty="0"/>
        </a:p>
      </dsp:txBody>
      <dsp:txXfrm>
        <a:off x="662506" y="1058915"/>
        <a:ext cx="1002196" cy="940576"/>
      </dsp:txXfrm>
    </dsp:sp>
    <dsp:sp modelId="{0DF5AA57-5871-4FC6-A05D-E337C20D1C24}">
      <dsp:nvSpPr>
        <dsp:cNvPr id="0" name=""/>
        <dsp:cNvSpPr/>
      </dsp:nvSpPr>
      <dsp:spPr>
        <a:xfrm>
          <a:off x="360048" y="2016280"/>
          <a:ext cx="450040" cy="449999"/>
        </a:xfrm>
        <a:prstGeom prst="ellipse">
          <a:avLst/>
        </a:prstGeom>
        <a:solidFill>
          <a:schemeClr val="accent2">
            <a:alpha val="50000"/>
            <a:hueOff val="7793228"/>
            <a:satOff val="-7812"/>
            <a:lumOff val="-3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4E6D8BC-88C3-484A-A04E-CA1D5EC2F418}">
      <dsp:nvSpPr>
        <dsp:cNvPr id="0" name=""/>
        <dsp:cNvSpPr/>
      </dsp:nvSpPr>
      <dsp:spPr>
        <a:xfrm>
          <a:off x="1742346" y="1408768"/>
          <a:ext cx="261828" cy="261906"/>
        </a:xfrm>
        <a:prstGeom prst="ellipse">
          <a:avLst/>
        </a:prstGeom>
        <a:solidFill>
          <a:schemeClr val="accent2">
            <a:alpha val="50000"/>
            <a:hueOff val="11689842"/>
            <a:satOff val="-11717"/>
            <a:lumOff val="-4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9F286A2-6500-4451-9801-784E0E238C88}">
      <dsp:nvSpPr>
        <dsp:cNvPr id="0" name=""/>
        <dsp:cNvSpPr/>
      </dsp:nvSpPr>
      <dsp:spPr>
        <a:xfrm>
          <a:off x="792106" y="1968376"/>
          <a:ext cx="1561295" cy="1488100"/>
        </a:xfrm>
        <a:prstGeom prst="ellipse">
          <a:avLst/>
        </a:prstGeom>
        <a:solidFill>
          <a:schemeClr val="accent2">
            <a:alpha val="50000"/>
            <a:hueOff val="15586456"/>
            <a:satOff val="-15623"/>
            <a:lumOff val="-61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 err="1"/>
            <a:t>External</a:t>
          </a:r>
          <a:r>
            <a:rPr lang="pl-PL" sz="1800" kern="1200" dirty="0"/>
            <a:t> data </a:t>
          </a:r>
          <a:r>
            <a:rPr lang="pl-PL" sz="1800" kern="1200" dirty="0" err="1"/>
            <a:t>feed</a:t>
          </a:r>
          <a:endParaRPr lang="pl-PL" sz="18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200" kern="1200" dirty="0"/>
            <a:t>Fil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200" kern="1200" dirty="0"/>
            <a:t>Data Bas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200" kern="1200" dirty="0"/>
            <a:t>API</a:t>
          </a:r>
        </a:p>
      </dsp:txBody>
      <dsp:txXfrm>
        <a:off x="1020752" y="2186303"/>
        <a:ext cx="1104003" cy="1052246"/>
      </dsp:txXfrm>
    </dsp:sp>
    <dsp:sp modelId="{10565103-9B5D-4DEC-AF4D-215B4B37ED14}">
      <dsp:nvSpPr>
        <dsp:cNvPr id="0" name=""/>
        <dsp:cNvSpPr/>
      </dsp:nvSpPr>
      <dsp:spPr>
        <a:xfrm>
          <a:off x="648090" y="3168439"/>
          <a:ext cx="261828" cy="261906"/>
        </a:xfrm>
        <a:prstGeom prst="ellipse">
          <a:avLst/>
        </a:prstGeom>
        <a:solidFill>
          <a:schemeClr val="accent2">
            <a:alpha val="50000"/>
            <a:hueOff val="19483070"/>
            <a:satOff val="-19529"/>
            <a:lumOff val="-7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0A218D2-2BC9-42F7-A164-67C48A50EB49}">
      <dsp:nvSpPr>
        <dsp:cNvPr id="0" name=""/>
        <dsp:cNvSpPr/>
      </dsp:nvSpPr>
      <dsp:spPr>
        <a:xfrm>
          <a:off x="5904459" y="1551673"/>
          <a:ext cx="1598261" cy="1597973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 err="1"/>
            <a:t>Result</a:t>
          </a:r>
          <a:r>
            <a:rPr lang="pl-PL" sz="1800" kern="1200" dirty="0"/>
            <a:t> </a:t>
          </a:r>
          <a:r>
            <a:rPr lang="pl-PL" sz="1800" kern="1200" dirty="0" err="1"/>
            <a:t>validation</a:t>
          </a:r>
          <a:endParaRPr lang="en-US" sz="1800" kern="1200" dirty="0"/>
        </a:p>
      </dsp:txBody>
      <dsp:txXfrm>
        <a:off x="6138519" y="1785691"/>
        <a:ext cx="1130141" cy="1129937"/>
      </dsp:txXfrm>
    </dsp:sp>
    <dsp:sp modelId="{C3C2EC7B-4363-4717-86AB-00666DE341D1}">
      <dsp:nvSpPr>
        <dsp:cNvPr id="0" name=""/>
        <dsp:cNvSpPr/>
      </dsp:nvSpPr>
      <dsp:spPr>
        <a:xfrm>
          <a:off x="514259" y="3363138"/>
          <a:ext cx="2077740" cy="547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800" kern="1200" dirty="0"/>
            <a:t>Test Data</a:t>
          </a:r>
          <a:endParaRPr lang="en-US" sz="1800" kern="1200" dirty="0"/>
        </a:p>
      </dsp:txBody>
      <dsp:txXfrm>
        <a:off x="514259" y="3363138"/>
        <a:ext cx="2077740" cy="54747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C17402-D086-414D-8263-9122B63CA433}">
      <dsp:nvSpPr>
        <dsp:cNvPr id="0" name=""/>
        <dsp:cNvSpPr/>
      </dsp:nvSpPr>
      <dsp:spPr>
        <a:xfrm>
          <a:off x="2080947" y="980281"/>
          <a:ext cx="2442104" cy="2442104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7310" tIns="67310" rIns="67310" bIns="67310" numCol="1" spcCol="1270" anchor="ctr" anchorCtr="0">
          <a:noAutofit/>
        </a:bodyPr>
        <a:lstStyle/>
        <a:p>
          <a:pPr marL="0" lvl="0" indent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5300" kern="1200" dirty="0"/>
            <a:t>Test </a:t>
          </a:r>
          <a:r>
            <a:rPr lang="pl-PL" sz="5300" kern="1200" dirty="0" err="1"/>
            <a:t>Case</a:t>
          </a:r>
          <a:endParaRPr lang="en-US" sz="5300" kern="1200" dirty="0"/>
        </a:p>
      </dsp:txBody>
      <dsp:txXfrm>
        <a:off x="2438585" y="1337919"/>
        <a:ext cx="1726828" cy="1726828"/>
      </dsp:txXfrm>
    </dsp:sp>
    <dsp:sp modelId="{101D0080-7180-4E15-A31E-C7C43FFAD433}">
      <dsp:nvSpPr>
        <dsp:cNvPr id="0" name=""/>
        <dsp:cNvSpPr/>
      </dsp:nvSpPr>
      <dsp:spPr>
        <a:xfrm>
          <a:off x="2691473" y="435"/>
          <a:ext cx="1221052" cy="122105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 dirty="0"/>
            <a:t>QA</a:t>
          </a:r>
          <a:endParaRPr lang="en-US" sz="2200" kern="1200" dirty="0"/>
        </a:p>
      </dsp:txBody>
      <dsp:txXfrm>
        <a:off x="2870292" y="179254"/>
        <a:ext cx="863414" cy="863414"/>
      </dsp:txXfrm>
    </dsp:sp>
    <dsp:sp modelId="{9C6E53F8-0210-4B6C-AFB9-2C0E7FEA8557}">
      <dsp:nvSpPr>
        <dsp:cNvPr id="0" name=""/>
        <dsp:cNvSpPr/>
      </dsp:nvSpPr>
      <dsp:spPr>
        <a:xfrm>
          <a:off x="4281845" y="1590807"/>
          <a:ext cx="1221052" cy="1221052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 dirty="0"/>
            <a:t>PROD</a:t>
          </a:r>
          <a:endParaRPr lang="en-US" sz="2200" kern="1200" dirty="0"/>
        </a:p>
      </dsp:txBody>
      <dsp:txXfrm>
        <a:off x="4460664" y="1769626"/>
        <a:ext cx="863414" cy="863414"/>
      </dsp:txXfrm>
    </dsp:sp>
    <dsp:sp modelId="{5FD12B76-D576-4580-A517-83F0C5E290A4}">
      <dsp:nvSpPr>
        <dsp:cNvPr id="0" name=""/>
        <dsp:cNvSpPr/>
      </dsp:nvSpPr>
      <dsp:spPr>
        <a:xfrm>
          <a:off x="2691473" y="3181178"/>
          <a:ext cx="1221052" cy="1221052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 dirty="0"/>
            <a:t>DEV</a:t>
          </a:r>
          <a:endParaRPr lang="en-US" sz="2200" kern="1200" dirty="0"/>
        </a:p>
      </dsp:txBody>
      <dsp:txXfrm>
        <a:off x="2870292" y="3359997"/>
        <a:ext cx="863414" cy="863414"/>
      </dsp:txXfrm>
    </dsp:sp>
    <dsp:sp modelId="{98AE273A-8B98-4099-A786-D0022D113086}">
      <dsp:nvSpPr>
        <dsp:cNvPr id="0" name=""/>
        <dsp:cNvSpPr/>
      </dsp:nvSpPr>
      <dsp:spPr>
        <a:xfrm>
          <a:off x="1101102" y="1590807"/>
          <a:ext cx="1221052" cy="1221052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 dirty="0"/>
            <a:t>SIT</a:t>
          </a:r>
          <a:endParaRPr lang="en-US" sz="2200" kern="1200" dirty="0"/>
        </a:p>
      </dsp:txBody>
      <dsp:txXfrm>
        <a:off x="1279921" y="1769626"/>
        <a:ext cx="863414" cy="863414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4D588B-2C5E-413E-8FB3-A45A598FE77E}">
      <dsp:nvSpPr>
        <dsp:cNvPr id="0" name=""/>
        <dsp:cNvSpPr/>
      </dsp:nvSpPr>
      <dsp:spPr>
        <a:xfrm>
          <a:off x="1900" y="1945744"/>
          <a:ext cx="2848683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atabase module</a:t>
          </a:r>
        </a:p>
      </dsp:txBody>
      <dsp:txXfrm>
        <a:off x="28348" y="1972192"/>
        <a:ext cx="2795787" cy="850091"/>
      </dsp:txXfrm>
    </dsp:sp>
    <dsp:sp modelId="{CDB456C7-FEB2-4189-8DB4-859E0B913BE7}">
      <dsp:nvSpPr>
        <dsp:cNvPr id="0" name=""/>
        <dsp:cNvSpPr/>
      </dsp:nvSpPr>
      <dsp:spPr>
        <a:xfrm>
          <a:off x="2393549" y="47228"/>
          <a:ext cx="454754" cy="1854329"/>
        </a:xfrm>
        <a:prstGeom prst="roundRect">
          <a:avLst>
            <a:gd name="adj" fmla="val 1000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Security module</a:t>
          </a:r>
        </a:p>
      </dsp:txBody>
      <dsp:txXfrm>
        <a:off x="2406868" y="60547"/>
        <a:ext cx="428116" cy="1827691"/>
      </dsp:txXfrm>
    </dsp:sp>
    <dsp:sp modelId="{79946D67-CF20-4533-873C-9747C402A031}">
      <dsp:nvSpPr>
        <dsp:cNvPr id="0" name=""/>
        <dsp:cNvSpPr/>
      </dsp:nvSpPr>
      <dsp:spPr>
        <a:xfrm>
          <a:off x="2853" y="1006663"/>
          <a:ext cx="2350169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WebAPI module</a:t>
          </a:r>
        </a:p>
      </dsp:txBody>
      <dsp:txXfrm>
        <a:off x="29301" y="1033111"/>
        <a:ext cx="2297273" cy="850091"/>
      </dsp:txXfrm>
    </dsp:sp>
    <dsp:sp modelId="{7951CDCD-4F97-4CCA-8C56-4992B72B07BB}">
      <dsp:nvSpPr>
        <dsp:cNvPr id="0" name=""/>
        <dsp:cNvSpPr/>
      </dsp:nvSpPr>
      <dsp:spPr>
        <a:xfrm>
          <a:off x="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28575"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/>
            <a:t>UI (Selenium) module</a:t>
          </a:r>
        </a:p>
      </dsp:txBody>
      <dsp:txXfrm>
        <a:off x="13320" y="87488"/>
        <a:ext cx="428116" cy="876349"/>
      </dsp:txXfrm>
    </dsp:sp>
    <dsp:sp modelId="{16415C91-F210-4416-A0F4-1AA0347D5471}">
      <dsp:nvSpPr>
        <dsp:cNvPr id="0" name=""/>
        <dsp:cNvSpPr/>
      </dsp:nvSpPr>
      <dsp:spPr>
        <a:xfrm>
          <a:off x="473714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/>
            <a:t>Selenium Grid</a:t>
          </a:r>
        </a:p>
      </dsp:txBody>
      <dsp:txXfrm>
        <a:off x="487033" y="87488"/>
        <a:ext cx="428116" cy="876349"/>
      </dsp:txXfrm>
    </dsp:sp>
    <dsp:sp modelId="{D8A6C93A-917D-4567-B16D-E30EEE8A93BD}">
      <dsp:nvSpPr>
        <dsp:cNvPr id="0" name=""/>
        <dsp:cNvSpPr/>
      </dsp:nvSpPr>
      <dsp:spPr>
        <a:xfrm>
          <a:off x="947567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(</a:t>
          </a:r>
          <a:r>
            <a:rPr lang="en-US" sz="500" kern="1200" noProof="0" dirty="0" err="1"/>
            <a:t>Appium</a:t>
          </a:r>
          <a:r>
            <a:rPr lang="en-US" sz="500" kern="1200" noProof="0" dirty="0"/>
            <a:t>)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960886" y="87488"/>
        <a:ext cx="428116" cy="876349"/>
      </dsp:txXfrm>
    </dsp:sp>
    <dsp:sp modelId="{10845D90-6534-40EB-8279-CF7912BF2E6A}">
      <dsp:nvSpPr>
        <dsp:cNvPr id="0" name=""/>
        <dsp:cNvSpPr/>
      </dsp:nvSpPr>
      <dsp:spPr>
        <a:xfrm>
          <a:off x="142142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</a:t>
          </a:r>
          <a:br>
            <a:rPr lang="pl-PL" sz="500" kern="1200" noProof="0" dirty="0"/>
          </a:br>
          <a:r>
            <a:rPr lang="en-US" sz="500" kern="1200" noProof="0" dirty="0"/>
            <a:t>Grid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434740" y="87488"/>
        <a:ext cx="428116" cy="876349"/>
      </dsp:txXfrm>
    </dsp:sp>
    <dsp:sp modelId="{9A46057F-5CDA-4B57-BF6D-897D216AF86F}">
      <dsp:nvSpPr>
        <dsp:cNvPr id="0" name=""/>
        <dsp:cNvSpPr/>
      </dsp:nvSpPr>
      <dsp:spPr>
        <a:xfrm>
          <a:off x="1895275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Standalone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908594" y="87488"/>
        <a:ext cx="428116" cy="876349"/>
      </dsp:txXfrm>
    </dsp:sp>
    <dsp:sp modelId="{1F321622-6935-42D4-AE83-D556256DD586}">
      <dsp:nvSpPr>
        <dsp:cNvPr id="0" name=""/>
        <dsp:cNvSpPr/>
      </dsp:nvSpPr>
      <dsp:spPr>
        <a:xfrm>
          <a:off x="2894018" y="56369"/>
          <a:ext cx="455643" cy="2792362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evOps module</a:t>
          </a:r>
        </a:p>
      </dsp:txBody>
      <dsp:txXfrm>
        <a:off x="2907363" y="69714"/>
        <a:ext cx="428953" cy="2765672"/>
      </dsp:txXfrm>
    </dsp:sp>
    <dsp:sp modelId="{AF9421C1-0977-4165-AE01-1E0941FF1DC2}">
      <dsp:nvSpPr>
        <dsp:cNvPr id="0" name=""/>
        <dsp:cNvSpPr/>
      </dsp:nvSpPr>
      <dsp:spPr>
        <a:xfrm>
          <a:off x="3395794" y="56252"/>
          <a:ext cx="455643" cy="2791612"/>
        </a:xfrm>
        <a:prstGeom prst="roundRect">
          <a:avLst>
            <a:gd name="adj" fmla="val 10000"/>
          </a:avLst>
        </a:prstGeom>
        <a:solidFill>
          <a:srgbClr val="0085B3"/>
        </a:solidFill>
        <a:ln w="28575"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Test core module</a:t>
          </a:r>
        </a:p>
      </dsp:txBody>
      <dsp:txXfrm>
        <a:off x="3409139" y="69597"/>
        <a:ext cx="428953" cy="276492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600016" y="0"/>
          <a:ext cx="624556" cy="989360"/>
        </a:xfrm>
        <a:prstGeom prst="trapezoid">
          <a:avLst>
            <a:gd name="adj" fmla="val 50000"/>
          </a:avLst>
        </a:prstGeom>
        <a:solidFill>
          <a:srgbClr val="7030A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000" kern="1200" dirty="0"/>
          </a:br>
          <a:r>
            <a:rPr lang="en-US" sz="2000" kern="1200" dirty="0"/>
            <a:t>UI</a:t>
          </a:r>
        </a:p>
      </dsp:txBody>
      <dsp:txXfrm>
        <a:off x="600016" y="0"/>
        <a:ext cx="624556" cy="989360"/>
      </dsp:txXfrm>
    </dsp:sp>
    <dsp:sp modelId="{3DF1A04F-9824-4FA2-8E9B-69197A34DB02}">
      <dsp:nvSpPr>
        <dsp:cNvPr id="0" name=""/>
        <dsp:cNvSpPr/>
      </dsp:nvSpPr>
      <dsp:spPr>
        <a:xfrm>
          <a:off x="307783" y="978782"/>
          <a:ext cx="1215490" cy="936099"/>
        </a:xfrm>
        <a:prstGeom prst="trapezoid">
          <a:avLst>
            <a:gd name="adj" fmla="val 31564"/>
          </a:avLst>
        </a:prstGeom>
        <a:solidFill>
          <a:schemeClr val="accent3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PI</a:t>
          </a:r>
        </a:p>
      </dsp:txBody>
      <dsp:txXfrm>
        <a:off x="520494" y="978782"/>
        <a:ext cx="790068" cy="936099"/>
      </dsp:txXfrm>
    </dsp:sp>
    <dsp:sp modelId="{D9074314-C21A-447C-9E4D-59C6F495C412}">
      <dsp:nvSpPr>
        <dsp:cNvPr id="0" name=""/>
        <dsp:cNvSpPr/>
      </dsp:nvSpPr>
      <dsp:spPr>
        <a:xfrm>
          <a:off x="0" y="1925459"/>
          <a:ext cx="1818319" cy="954940"/>
        </a:xfrm>
        <a:prstGeom prst="trapezoid">
          <a:avLst>
            <a:gd name="adj" fmla="val 31564"/>
          </a:avLst>
        </a:prstGeom>
        <a:solidFill>
          <a:srgbClr val="FFC00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BACKEND</a:t>
          </a:r>
          <a:endParaRPr lang="en-US" sz="2000" kern="1200" dirty="0"/>
        </a:p>
      </dsp:txBody>
      <dsp:txXfrm>
        <a:off x="318205" y="1925459"/>
        <a:ext cx="1181907" cy="95494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466EC6-31DD-4CAB-9FC8-154C1AAA4E91}">
      <dsp:nvSpPr>
        <dsp:cNvPr id="0" name=""/>
        <dsp:cNvSpPr/>
      </dsp:nvSpPr>
      <dsp:spPr>
        <a:xfrm>
          <a:off x="0" y="288874"/>
          <a:ext cx="2582422" cy="2582552"/>
        </a:xfrm>
        <a:prstGeom prst="ellipse">
          <a:avLst/>
        </a:prstGeom>
        <a:gradFill rotWithShape="0">
          <a:gsLst>
            <a:gs pos="0">
              <a:schemeClr val="accent2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 dirty="0"/>
            <a:t>Malleable resolut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Remote Web Desig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Mobile browsers </a:t>
          </a:r>
        </a:p>
      </dsp:txBody>
      <dsp:txXfrm>
        <a:off x="378187" y="667080"/>
        <a:ext cx="1826048" cy="1826140"/>
      </dsp:txXfrm>
    </dsp:sp>
    <dsp:sp modelId="{89AA0001-53DF-4E74-BA55-C8324EBB5F27}">
      <dsp:nvSpPr>
        <dsp:cNvPr id="0" name=""/>
        <dsp:cNvSpPr/>
      </dsp:nvSpPr>
      <dsp:spPr>
        <a:xfrm>
          <a:off x="1341373" y="1953242"/>
          <a:ext cx="2582422" cy="2582552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/>
            <a:t>Support for many browsers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Internet Explorer, Edge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Chrome, Firefox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Safari</a:t>
          </a:r>
        </a:p>
      </dsp:txBody>
      <dsp:txXfrm>
        <a:off x="1719560" y="2331448"/>
        <a:ext cx="1826048" cy="1826140"/>
      </dsp:txXfrm>
    </dsp:sp>
    <dsp:sp modelId="{7EE7E7DC-AA37-4BF4-8B05-59860A2202AA}">
      <dsp:nvSpPr>
        <dsp:cNvPr id="0" name=""/>
        <dsp:cNvSpPr/>
      </dsp:nvSpPr>
      <dsp:spPr>
        <a:xfrm>
          <a:off x="2682746" y="288874"/>
          <a:ext cx="2582422" cy="2582552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/>
            <a:t>User friendly actions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elementCheckBox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 err="1"/>
            <a:t>elementDropdown</a:t>
          </a:r>
          <a:r>
            <a:rPr lang="en-US" sz="1400" kern="1200" noProof="0" dirty="0"/>
            <a:t>, etc. </a:t>
          </a:r>
        </a:p>
      </dsp:txBody>
      <dsp:txXfrm>
        <a:off x="3060933" y="667080"/>
        <a:ext cx="1826048" cy="1826140"/>
      </dsp:txXfrm>
    </dsp:sp>
    <dsp:sp modelId="{61B7D573-077C-4A72-A053-42A3061B5CCC}">
      <dsp:nvSpPr>
        <dsp:cNvPr id="0" name=""/>
        <dsp:cNvSpPr/>
      </dsp:nvSpPr>
      <dsp:spPr>
        <a:xfrm>
          <a:off x="4024120" y="1953242"/>
          <a:ext cx="2582422" cy="2582552"/>
        </a:xfrm>
        <a:prstGeom prst="ellipse">
          <a:avLst/>
        </a:prstGeom>
        <a:gradFill rotWithShape="0">
          <a:gsLst>
            <a:gs pos="0">
              <a:schemeClr val="accent5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/>
            <a:t>Ubiquise test execut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/>
            <a:t>locally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noProof="0" dirty="0"/>
            <a:t>against Selenium Grid through Jenkins</a:t>
          </a:r>
        </a:p>
      </dsp:txBody>
      <dsp:txXfrm>
        <a:off x="4402307" y="2331448"/>
        <a:ext cx="1826048" cy="1826140"/>
      </dsp:txXfrm>
    </dsp:sp>
    <dsp:sp modelId="{D58DCFBC-93CE-4770-8C0B-177886CF1F2C}">
      <dsp:nvSpPr>
        <dsp:cNvPr id="0" name=""/>
        <dsp:cNvSpPr/>
      </dsp:nvSpPr>
      <dsp:spPr>
        <a:xfrm>
          <a:off x="5365493" y="288874"/>
          <a:ext cx="2582422" cy="2582552"/>
        </a:xfrm>
        <a:prstGeom prst="ellipse">
          <a:avLst/>
        </a:prstGeom>
        <a:gradFill rotWithShape="0">
          <a:gsLst>
            <a:gs pos="0">
              <a:schemeClr val="accent6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 dirty="0"/>
            <a:t>Page Object Model architectur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 dirty="0"/>
            <a:t>Map page action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 dirty="0"/>
            <a:t>Seprate business actions</a:t>
          </a:r>
          <a:endParaRPr lang="en-US" sz="1400" kern="1200" dirty="0"/>
        </a:p>
      </dsp:txBody>
      <dsp:txXfrm>
        <a:off x="5743680" y="667080"/>
        <a:ext cx="1826048" cy="1826140"/>
      </dsp:txXfrm>
    </dsp:sp>
    <dsp:sp modelId="{C6BA4834-243B-47C6-8825-9993C8E7B076}">
      <dsp:nvSpPr>
        <dsp:cNvPr id="0" name=""/>
        <dsp:cNvSpPr/>
      </dsp:nvSpPr>
      <dsp:spPr>
        <a:xfrm>
          <a:off x="6706867" y="1953242"/>
          <a:ext cx="2582422" cy="2582552"/>
        </a:xfrm>
        <a:prstGeom prst="ellipse">
          <a:avLst/>
        </a:prstGeom>
        <a:gradFill rotWithShape="0">
          <a:gsLst>
            <a:gs pos="0">
              <a:schemeClr val="accent2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 dirty="0"/>
            <a:t>Selenium </a:t>
          </a:r>
          <a:r>
            <a:rPr lang="en-US" sz="1800" kern="1200" noProof="0" dirty="0" err="1"/>
            <a:t>WebDriver</a:t>
          </a:r>
          <a:r>
            <a:rPr lang="en-US" sz="1800" kern="1200" noProof="0" dirty="0"/>
            <a:t> with Java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-PL" sz="1400" kern="1200" dirty="0"/>
            <a:t>Web driver </a:t>
          </a:r>
          <a:r>
            <a:rPr lang="pl-PL" sz="1400" kern="1200"/>
            <a:t>auto downloder</a:t>
          </a:r>
          <a:endParaRPr lang="en-US" sz="1400" kern="1200" dirty="0"/>
        </a:p>
      </dsp:txBody>
      <dsp:txXfrm>
        <a:off x="7085054" y="2331448"/>
        <a:ext cx="1826048" cy="18261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3B53CC-63F9-486E-B296-6E00E1199ECB}">
      <dsp:nvSpPr>
        <dsp:cNvPr id="0" name=""/>
        <dsp:cNvSpPr/>
      </dsp:nvSpPr>
      <dsp:spPr>
        <a:xfrm rot="16200000">
          <a:off x="428137" y="-428137"/>
          <a:ext cx="1152160" cy="2008435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noProof="0" dirty="0"/>
            <a:t>Core functions  </a:t>
          </a:r>
          <a:br>
            <a:rPr lang="en-US" sz="1500" kern="1200" noProof="0" dirty="0"/>
          </a:br>
          <a:r>
            <a:rPr lang="en-US" sz="1500" kern="1200" noProof="0" dirty="0"/>
            <a:t>(Java</a:t>
          </a:r>
          <a:r>
            <a:rPr lang="pl-PL" sz="1500" kern="1200" noProof="0" dirty="0"/>
            <a:t>, </a:t>
          </a:r>
          <a:r>
            <a:rPr lang="en-US" sz="1500" kern="1200" noProof="0" dirty="0"/>
            <a:t>Cucumber)</a:t>
          </a:r>
        </a:p>
      </dsp:txBody>
      <dsp:txXfrm rot="5400000">
        <a:off x="0" y="0"/>
        <a:ext cx="2008435" cy="864120"/>
      </dsp:txXfrm>
    </dsp:sp>
    <dsp:sp modelId="{D0229584-9C34-4778-B8AA-1AA196E63414}">
      <dsp:nvSpPr>
        <dsp:cNvPr id="0" name=""/>
        <dsp:cNvSpPr/>
      </dsp:nvSpPr>
      <dsp:spPr>
        <a:xfrm>
          <a:off x="2008435" y="0"/>
          <a:ext cx="2008435" cy="1152160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500" kern="1200" dirty="0"/>
            <a:t>UI </a:t>
          </a:r>
          <a:r>
            <a:rPr lang="en-US" sz="1500" kern="1200" noProof="0" dirty="0"/>
            <a:t>module</a:t>
          </a:r>
          <a:br>
            <a:rPr lang="en-US" sz="1500" kern="1200" noProof="0" dirty="0"/>
          </a:br>
          <a:r>
            <a:rPr lang="en-US" sz="1500" kern="1200" noProof="0" dirty="0"/>
            <a:t>(Selenium)</a:t>
          </a:r>
        </a:p>
      </dsp:txBody>
      <dsp:txXfrm>
        <a:off x="2008435" y="0"/>
        <a:ext cx="2008435" cy="864120"/>
      </dsp:txXfrm>
    </dsp:sp>
    <dsp:sp modelId="{374D5145-E2A1-4964-AF5F-50EBD090420C}">
      <dsp:nvSpPr>
        <dsp:cNvPr id="0" name=""/>
        <dsp:cNvSpPr/>
      </dsp:nvSpPr>
      <dsp:spPr>
        <a:xfrm rot="10800000">
          <a:off x="0" y="1152160"/>
          <a:ext cx="2008435" cy="1152160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noProof="0" dirty="0" err="1"/>
            <a:t>WebService</a:t>
          </a:r>
          <a:r>
            <a:rPr lang="en-US" sz="1500" kern="1200" noProof="0" dirty="0"/>
            <a:t> module</a:t>
          </a:r>
          <a:br>
            <a:rPr lang="pl-PL" sz="1500" kern="1200" dirty="0"/>
          </a:br>
          <a:r>
            <a:rPr lang="pl-PL" sz="1500" kern="1200" dirty="0"/>
            <a:t>(REST, SOAP)</a:t>
          </a:r>
          <a:endParaRPr lang="en-US" sz="1500" kern="1200" dirty="0"/>
        </a:p>
      </dsp:txBody>
      <dsp:txXfrm rot="10800000">
        <a:off x="0" y="1440199"/>
        <a:ext cx="2008435" cy="864120"/>
      </dsp:txXfrm>
    </dsp:sp>
    <dsp:sp modelId="{73269400-037F-4E4D-8615-9F6ADD40C530}">
      <dsp:nvSpPr>
        <dsp:cNvPr id="0" name=""/>
        <dsp:cNvSpPr/>
      </dsp:nvSpPr>
      <dsp:spPr>
        <a:xfrm rot="5400000">
          <a:off x="2436572" y="724022"/>
          <a:ext cx="1152160" cy="2008435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noProof="0" dirty="0" err="1"/>
            <a:t>DataBase</a:t>
          </a:r>
          <a:r>
            <a:rPr lang="en-US" sz="1500" kern="1200" noProof="0" dirty="0"/>
            <a:t> module</a:t>
          </a:r>
          <a:br>
            <a:rPr lang="en-US" sz="1500" kern="1200" noProof="0" dirty="0"/>
          </a:br>
          <a:r>
            <a:rPr lang="en-US" sz="1500" kern="1200" noProof="0" dirty="0"/>
            <a:t>(Oracle, Cassandra</a:t>
          </a:r>
          <a:r>
            <a:rPr lang="pl-PL" sz="1500" kern="1200" dirty="0"/>
            <a:t>)</a:t>
          </a:r>
          <a:endParaRPr lang="en-US" sz="1500" kern="1200" dirty="0"/>
        </a:p>
      </dsp:txBody>
      <dsp:txXfrm rot="-5400000">
        <a:off x="2008435" y="1440199"/>
        <a:ext cx="2008435" cy="864120"/>
      </dsp:txXfrm>
    </dsp:sp>
    <dsp:sp modelId="{2E174289-C717-4B8B-BD2D-0BA70D09B636}">
      <dsp:nvSpPr>
        <dsp:cNvPr id="0" name=""/>
        <dsp:cNvSpPr/>
      </dsp:nvSpPr>
      <dsp:spPr>
        <a:xfrm>
          <a:off x="1405904" y="864120"/>
          <a:ext cx="1205061" cy="576080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500" kern="1200" dirty="0"/>
            <a:t>E2E test in </a:t>
          </a:r>
          <a:br>
            <a:rPr lang="pl-PL" sz="1500" kern="1200" dirty="0"/>
          </a:br>
          <a:r>
            <a:rPr lang="pl-PL" sz="1500" kern="1200" dirty="0"/>
            <a:t>one file</a:t>
          </a:r>
          <a:endParaRPr lang="en-US" sz="1500" kern="1200" dirty="0"/>
        </a:p>
      </dsp:txBody>
      <dsp:txXfrm>
        <a:off x="1434026" y="892242"/>
        <a:ext cx="1148817" cy="51983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ADA40B-1B5B-491A-A8D1-C9AA111FC404}">
      <dsp:nvSpPr>
        <dsp:cNvPr id="0" name=""/>
        <dsp:cNvSpPr/>
      </dsp:nvSpPr>
      <dsp:spPr>
        <a:xfrm>
          <a:off x="1489502" y="542815"/>
          <a:ext cx="3624995" cy="3624995"/>
        </a:xfrm>
        <a:prstGeom prst="blockArc">
          <a:avLst>
            <a:gd name="adj1" fmla="val 11880000"/>
            <a:gd name="adj2" fmla="val 16200000"/>
            <a:gd name="adj3" fmla="val 4636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701B747-28BF-4B1C-ABED-6A795BDCAC88}">
      <dsp:nvSpPr>
        <dsp:cNvPr id="0" name=""/>
        <dsp:cNvSpPr/>
      </dsp:nvSpPr>
      <dsp:spPr>
        <a:xfrm>
          <a:off x="1489502" y="542815"/>
          <a:ext cx="3624995" cy="3624995"/>
        </a:xfrm>
        <a:prstGeom prst="blockArc">
          <a:avLst>
            <a:gd name="adj1" fmla="val 7560000"/>
            <a:gd name="adj2" fmla="val 11880000"/>
            <a:gd name="adj3" fmla="val 4636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41A3566-83A6-48D9-96BF-0026C89A867B}">
      <dsp:nvSpPr>
        <dsp:cNvPr id="0" name=""/>
        <dsp:cNvSpPr/>
      </dsp:nvSpPr>
      <dsp:spPr>
        <a:xfrm>
          <a:off x="1489502" y="542815"/>
          <a:ext cx="3624995" cy="3624995"/>
        </a:xfrm>
        <a:prstGeom prst="blockArc">
          <a:avLst>
            <a:gd name="adj1" fmla="val 3240000"/>
            <a:gd name="adj2" fmla="val 7560000"/>
            <a:gd name="adj3" fmla="val 4636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4625BFF-0C1A-442E-AE25-C6F88082CF53}">
      <dsp:nvSpPr>
        <dsp:cNvPr id="0" name=""/>
        <dsp:cNvSpPr/>
      </dsp:nvSpPr>
      <dsp:spPr>
        <a:xfrm>
          <a:off x="1489502" y="542815"/>
          <a:ext cx="3624995" cy="3624995"/>
        </a:xfrm>
        <a:prstGeom prst="blockArc">
          <a:avLst>
            <a:gd name="adj1" fmla="val 20520000"/>
            <a:gd name="adj2" fmla="val 3240000"/>
            <a:gd name="adj3" fmla="val 4636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B3D3CED-8C41-4ECB-BEF2-70C1E3DD4E1B}">
      <dsp:nvSpPr>
        <dsp:cNvPr id="0" name=""/>
        <dsp:cNvSpPr/>
      </dsp:nvSpPr>
      <dsp:spPr>
        <a:xfrm>
          <a:off x="1489502" y="542815"/>
          <a:ext cx="3624995" cy="3624995"/>
        </a:xfrm>
        <a:prstGeom prst="blockArc">
          <a:avLst>
            <a:gd name="adj1" fmla="val 16200000"/>
            <a:gd name="adj2" fmla="val 20520000"/>
            <a:gd name="adj3" fmla="val 4636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DD11A90-6657-4DF9-9096-EB80E2B2F343}">
      <dsp:nvSpPr>
        <dsp:cNvPr id="0" name=""/>
        <dsp:cNvSpPr/>
      </dsp:nvSpPr>
      <dsp:spPr>
        <a:xfrm>
          <a:off x="2468438" y="1521752"/>
          <a:ext cx="1667123" cy="16671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3600" kern="1200" dirty="0"/>
            <a:t>Test Case</a:t>
          </a:r>
          <a:endParaRPr lang="en-US" sz="3600" kern="1200" dirty="0"/>
        </a:p>
      </dsp:txBody>
      <dsp:txXfrm>
        <a:off x="2712583" y="1765897"/>
        <a:ext cx="1178833" cy="1178833"/>
      </dsp:txXfrm>
    </dsp:sp>
    <dsp:sp modelId="{764C1D9D-33D7-43F4-8D77-B81814EA7131}">
      <dsp:nvSpPr>
        <dsp:cNvPr id="0" name=""/>
        <dsp:cNvSpPr/>
      </dsp:nvSpPr>
      <dsp:spPr>
        <a:xfrm>
          <a:off x="2718506" y="1334"/>
          <a:ext cx="1166986" cy="116698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100" kern="1200" dirty="0"/>
            <a:t>Resolution</a:t>
          </a:r>
          <a:endParaRPr lang="en-US" sz="1100" kern="1200" dirty="0"/>
        </a:p>
      </dsp:txBody>
      <dsp:txXfrm>
        <a:off x="2889407" y="172235"/>
        <a:ext cx="825184" cy="825184"/>
      </dsp:txXfrm>
    </dsp:sp>
    <dsp:sp modelId="{34460252-B829-4C62-AA4F-1DAD692508DD}">
      <dsp:nvSpPr>
        <dsp:cNvPr id="0" name=""/>
        <dsp:cNvSpPr/>
      </dsp:nvSpPr>
      <dsp:spPr>
        <a:xfrm>
          <a:off x="4402339" y="1224710"/>
          <a:ext cx="1166986" cy="116698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100" kern="1200" dirty="0" err="1"/>
            <a:t>Browsers</a:t>
          </a:r>
          <a:endParaRPr lang="en-US" sz="1100" kern="1200" dirty="0"/>
        </a:p>
      </dsp:txBody>
      <dsp:txXfrm>
        <a:off x="4573240" y="1395611"/>
        <a:ext cx="825184" cy="825184"/>
      </dsp:txXfrm>
    </dsp:sp>
    <dsp:sp modelId="{D3CE8B1A-C55E-44B5-BB23-7082097FA931}">
      <dsp:nvSpPr>
        <dsp:cNvPr id="0" name=""/>
        <dsp:cNvSpPr/>
      </dsp:nvSpPr>
      <dsp:spPr>
        <a:xfrm>
          <a:off x="3759172" y="3204174"/>
          <a:ext cx="1166986" cy="116698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100" kern="1200" dirty="0"/>
            <a:t>Test Environment</a:t>
          </a:r>
          <a:endParaRPr lang="en-US" sz="1100" kern="1200" dirty="0"/>
        </a:p>
      </dsp:txBody>
      <dsp:txXfrm>
        <a:off x="3930073" y="3375075"/>
        <a:ext cx="825184" cy="825184"/>
      </dsp:txXfrm>
    </dsp:sp>
    <dsp:sp modelId="{F69E6519-ED20-43CC-B105-CFCBC896386E}">
      <dsp:nvSpPr>
        <dsp:cNvPr id="0" name=""/>
        <dsp:cNvSpPr/>
      </dsp:nvSpPr>
      <dsp:spPr>
        <a:xfrm>
          <a:off x="1677841" y="3204174"/>
          <a:ext cx="1166986" cy="116698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100" kern="1200" dirty="0"/>
            <a:t>Data </a:t>
          </a:r>
          <a:r>
            <a:rPr lang="pl-PL" sz="1100" kern="1200" dirty="0" err="1"/>
            <a:t>Driven</a:t>
          </a:r>
          <a:endParaRPr lang="en-US" sz="1100" kern="1200" dirty="0"/>
        </a:p>
      </dsp:txBody>
      <dsp:txXfrm>
        <a:off x="1848742" y="3375075"/>
        <a:ext cx="825184" cy="825184"/>
      </dsp:txXfrm>
    </dsp:sp>
    <dsp:sp modelId="{7FD22E0C-9B34-41F4-8A24-101C037B4564}">
      <dsp:nvSpPr>
        <dsp:cNvPr id="0" name=""/>
        <dsp:cNvSpPr/>
      </dsp:nvSpPr>
      <dsp:spPr>
        <a:xfrm>
          <a:off x="1034674" y="1224710"/>
          <a:ext cx="1166986" cy="116698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100" kern="1200" dirty="0"/>
            <a:t>Smart data </a:t>
          </a:r>
          <a:r>
            <a:rPr lang="pl-PL" sz="1100" kern="1200" dirty="0" err="1"/>
            <a:t>discover</a:t>
          </a:r>
          <a:endParaRPr lang="en-US" sz="1100" kern="1200" dirty="0"/>
        </a:p>
      </dsp:txBody>
      <dsp:txXfrm>
        <a:off x="1205575" y="1395611"/>
        <a:ext cx="825184" cy="82518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9E82A7-3379-4F15-868C-7AF8382721B2}">
      <dsp:nvSpPr>
        <dsp:cNvPr id="0" name=""/>
        <dsp:cNvSpPr/>
      </dsp:nvSpPr>
      <dsp:spPr>
        <a:xfrm>
          <a:off x="1651000" y="3555153"/>
          <a:ext cx="3347567" cy="0"/>
        </a:xfrm>
        <a:prstGeom prst="line">
          <a:avLst/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0DDB88-5A2A-49E6-81B0-27BA4122CA10}">
      <dsp:nvSpPr>
        <dsp:cNvPr id="0" name=""/>
        <dsp:cNvSpPr/>
      </dsp:nvSpPr>
      <dsp:spPr>
        <a:xfrm>
          <a:off x="1651000" y="2990511"/>
          <a:ext cx="2828823" cy="0"/>
        </a:xfrm>
        <a:prstGeom prst="line">
          <a:avLst/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F3E5C6-CE45-4BAF-83BC-98976A999C4E}">
      <dsp:nvSpPr>
        <dsp:cNvPr id="0" name=""/>
        <dsp:cNvSpPr/>
      </dsp:nvSpPr>
      <dsp:spPr>
        <a:xfrm>
          <a:off x="1651000" y="2201333"/>
          <a:ext cx="2641600" cy="0"/>
        </a:xfrm>
        <a:prstGeom prst="line">
          <a:avLst/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3AC67D-9596-4631-92EB-5F4EB3AC5CA1}">
      <dsp:nvSpPr>
        <dsp:cNvPr id="0" name=""/>
        <dsp:cNvSpPr/>
      </dsp:nvSpPr>
      <dsp:spPr>
        <a:xfrm>
          <a:off x="1651000" y="1412155"/>
          <a:ext cx="2828823" cy="0"/>
        </a:xfrm>
        <a:prstGeom prst="line">
          <a:avLst/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FC82AF-345D-4C09-998B-B37988F368AB}">
      <dsp:nvSpPr>
        <dsp:cNvPr id="0" name=""/>
        <dsp:cNvSpPr/>
      </dsp:nvSpPr>
      <dsp:spPr>
        <a:xfrm>
          <a:off x="1651000" y="847513"/>
          <a:ext cx="3347567" cy="0"/>
        </a:xfrm>
        <a:prstGeom prst="line">
          <a:avLst/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23BBF4-1777-4255-BB7C-85A8BA3AB15B}">
      <dsp:nvSpPr>
        <dsp:cNvPr id="0" name=""/>
        <dsp:cNvSpPr/>
      </dsp:nvSpPr>
      <dsp:spPr>
        <a:xfrm>
          <a:off x="0" y="550333"/>
          <a:ext cx="3302000" cy="3302000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4EE00-52BC-47CD-A931-E9C941C057D0}">
      <dsp:nvSpPr>
        <dsp:cNvPr id="0" name=""/>
        <dsp:cNvSpPr/>
      </dsp:nvSpPr>
      <dsp:spPr>
        <a:xfrm>
          <a:off x="594360" y="2303695"/>
          <a:ext cx="2113280" cy="108966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4100" kern="1200" dirty="0"/>
            <a:t>Test Case</a:t>
          </a:r>
          <a:endParaRPr lang="en-US" sz="4100" kern="1200" dirty="0"/>
        </a:p>
      </dsp:txBody>
      <dsp:txXfrm>
        <a:off x="594360" y="2303695"/>
        <a:ext cx="2113280" cy="1089660"/>
      </dsp:txXfrm>
    </dsp:sp>
    <dsp:sp modelId="{DC852C99-4FEF-4D0D-8CAE-ED403A04D519}">
      <dsp:nvSpPr>
        <dsp:cNvPr id="0" name=""/>
        <dsp:cNvSpPr/>
      </dsp:nvSpPr>
      <dsp:spPr>
        <a:xfrm>
          <a:off x="4701387" y="550333"/>
          <a:ext cx="594360" cy="594360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15C0C8-6AB4-4FB1-9E85-7B51E2B4D65E}">
      <dsp:nvSpPr>
        <dsp:cNvPr id="0" name=""/>
        <dsp:cNvSpPr/>
      </dsp:nvSpPr>
      <dsp:spPr>
        <a:xfrm>
          <a:off x="5295747" y="550333"/>
          <a:ext cx="1308252" cy="594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0" rIns="10668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dirty="0" err="1"/>
            <a:t>Firefox</a:t>
          </a:r>
          <a:endParaRPr lang="en-US" sz="2800" kern="1200" dirty="0"/>
        </a:p>
      </dsp:txBody>
      <dsp:txXfrm>
        <a:off x="5295747" y="550333"/>
        <a:ext cx="1308252" cy="594360"/>
      </dsp:txXfrm>
    </dsp:sp>
    <dsp:sp modelId="{722A2388-5452-4171-AAE1-0AD62A514536}">
      <dsp:nvSpPr>
        <dsp:cNvPr id="0" name=""/>
        <dsp:cNvSpPr/>
      </dsp:nvSpPr>
      <dsp:spPr>
        <a:xfrm>
          <a:off x="4182643" y="1114975"/>
          <a:ext cx="594360" cy="594360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D0C59C-AE21-4623-AC99-D85A80AA0B67}">
      <dsp:nvSpPr>
        <dsp:cNvPr id="0" name=""/>
        <dsp:cNvSpPr/>
      </dsp:nvSpPr>
      <dsp:spPr>
        <a:xfrm>
          <a:off x="4777003" y="1114975"/>
          <a:ext cx="1518690" cy="594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0" rIns="10668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dirty="0"/>
            <a:t>Chrome</a:t>
          </a:r>
          <a:endParaRPr lang="en-US" sz="2800" kern="1200" dirty="0"/>
        </a:p>
      </dsp:txBody>
      <dsp:txXfrm>
        <a:off x="4777003" y="1114975"/>
        <a:ext cx="1518690" cy="594360"/>
      </dsp:txXfrm>
    </dsp:sp>
    <dsp:sp modelId="{197E2407-977F-4494-A309-ED68EB525F1C}">
      <dsp:nvSpPr>
        <dsp:cNvPr id="0" name=""/>
        <dsp:cNvSpPr/>
      </dsp:nvSpPr>
      <dsp:spPr>
        <a:xfrm>
          <a:off x="3995420" y="1904153"/>
          <a:ext cx="594360" cy="594360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4BB057-6DD1-4F35-945F-021EC9BC3509}">
      <dsp:nvSpPr>
        <dsp:cNvPr id="0" name=""/>
        <dsp:cNvSpPr/>
      </dsp:nvSpPr>
      <dsp:spPr>
        <a:xfrm>
          <a:off x="4589780" y="1904153"/>
          <a:ext cx="597971" cy="594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0" rIns="10668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dirty="0"/>
            <a:t>IE</a:t>
          </a:r>
          <a:endParaRPr lang="en-US" sz="2800" kern="1200" dirty="0"/>
        </a:p>
      </dsp:txBody>
      <dsp:txXfrm>
        <a:off x="4589780" y="1904153"/>
        <a:ext cx="597971" cy="594360"/>
      </dsp:txXfrm>
    </dsp:sp>
    <dsp:sp modelId="{120C5453-F474-443E-82F0-1DBCAE38B02E}">
      <dsp:nvSpPr>
        <dsp:cNvPr id="0" name=""/>
        <dsp:cNvSpPr/>
      </dsp:nvSpPr>
      <dsp:spPr>
        <a:xfrm>
          <a:off x="4182643" y="2693331"/>
          <a:ext cx="594360" cy="594360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6D3C8F-3ED7-45DA-9B4F-815FE24BAA24}">
      <dsp:nvSpPr>
        <dsp:cNvPr id="0" name=""/>
        <dsp:cNvSpPr/>
      </dsp:nvSpPr>
      <dsp:spPr>
        <a:xfrm>
          <a:off x="4777003" y="2693331"/>
          <a:ext cx="1056232" cy="594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0" rIns="10668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dirty="0"/>
            <a:t>Edge</a:t>
          </a:r>
          <a:endParaRPr lang="en-US" sz="2800" kern="1200" dirty="0"/>
        </a:p>
      </dsp:txBody>
      <dsp:txXfrm>
        <a:off x="4777003" y="2693331"/>
        <a:ext cx="1056232" cy="594360"/>
      </dsp:txXfrm>
    </dsp:sp>
    <dsp:sp modelId="{3BD2304B-2EF6-408B-B9E6-AFF01416676D}">
      <dsp:nvSpPr>
        <dsp:cNvPr id="0" name=""/>
        <dsp:cNvSpPr/>
      </dsp:nvSpPr>
      <dsp:spPr>
        <a:xfrm>
          <a:off x="4701387" y="3257973"/>
          <a:ext cx="594360" cy="594360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EA4164-9DB2-4D63-B2A9-8EAEE97DBDDA}">
      <dsp:nvSpPr>
        <dsp:cNvPr id="0" name=""/>
        <dsp:cNvSpPr/>
      </dsp:nvSpPr>
      <dsp:spPr>
        <a:xfrm>
          <a:off x="5295747" y="3257973"/>
          <a:ext cx="1161074" cy="594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0" rIns="10668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800" kern="1200" dirty="0"/>
            <a:t>Safari</a:t>
          </a:r>
          <a:endParaRPr lang="en-US" sz="2800" kern="1200" dirty="0"/>
        </a:p>
      </dsp:txBody>
      <dsp:txXfrm>
        <a:off x="5295747" y="3257973"/>
        <a:ext cx="1161074" cy="594360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629660-2516-454D-807F-9C11BDBC4DA9}">
      <dsp:nvSpPr>
        <dsp:cNvPr id="0" name=""/>
        <dsp:cNvSpPr/>
      </dsp:nvSpPr>
      <dsp:spPr>
        <a:xfrm>
          <a:off x="3030286" y="234644"/>
          <a:ext cx="1552649" cy="103509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Test Case</a:t>
          </a:r>
          <a:endParaRPr lang="en-US" sz="2000" kern="1200" dirty="0"/>
        </a:p>
      </dsp:txBody>
      <dsp:txXfrm>
        <a:off x="3060603" y="264961"/>
        <a:ext cx="1492015" cy="974465"/>
      </dsp:txXfrm>
    </dsp:sp>
    <dsp:sp modelId="{2FA3A27E-8ED0-4BBC-A586-577D5F0131FD}">
      <dsp:nvSpPr>
        <dsp:cNvPr id="0" name=""/>
        <dsp:cNvSpPr/>
      </dsp:nvSpPr>
      <dsp:spPr>
        <a:xfrm>
          <a:off x="1788166" y="1269743"/>
          <a:ext cx="2018444" cy="414039"/>
        </a:xfrm>
        <a:custGeom>
          <a:avLst/>
          <a:gdLst/>
          <a:ahLst/>
          <a:cxnLst/>
          <a:rect l="0" t="0" r="0" b="0"/>
          <a:pathLst>
            <a:path>
              <a:moveTo>
                <a:pt x="2018444" y="0"/>
              </a:moveTo>
              <a:lnTo>
                <a:pt x="2018444" y="207019"/>
              </a:lnTo>
              <a:lnTo>
                <a:pt x="0" y="207019"/>
              </a:lnTo>
              <a:lnTo>
                <a:pt x="0" y="41403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095CD0-62E8-4052-B138-29EEF3AA78B3}">
      <dsp:nvSpPr>
        <dsp:cNvPr id="0" name=""/>
        <dsp:cNvSpPr/>
      </dsp:nvSpPr>
      <dsp:spPr>
        <a:xfrm>
          <a:off x="1011842" y="1683783"/>
          <a:ext cx="1552649" cy="103509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Mobile</a:t>
          </a:r>
          <a:endParaRPr lang="en-US" sz="2000" kern="1200" dirty="0"/>
        </a:p>
      </dsp:txBody>
      <dsp:txXfrm>
        <a:off x="1042159" y="1714100"/>
        <a:ext cx="1492015" cy="974465"/>
      </dsp:txXfrm>
    </dsp:sp>
    <dsp:sp modelId="{DA2C2032-005B-4A53-8A98-A811F9308A37}">
      <dsp:nvSpPr>
        <dsp:cNvPr id="0" name=""/>
        <dsp:cNvSpPr/>
      </dsp:nvSpPr>
      <dsp:spPr>
        <a:xfrm>
          <a:off x="778944" y="2718883"/>
          <a:ext cx="1009222" cy="414039"/>
        </a:xfrm>
        <a:custGeom>
          <a:avLst/>
          <a:gdLst/>
          <a:ahLst/>
          <a:cxnLst/>
          <a:rect l="0" t="0" r="0" b="0"/>
          <a:pathLst>
            <a:path>
              <a:moveTo>
                <a:pt x="1009222" y="0"/>
              </a:moveTo>
              <a:lnTo>
                <a:pt x="1009222" y="207019"/>
              </a:lnTo>
              <a:lnTo>
                <a:pt x="0" y="207019"/>
              </a:lnTo>
              <a:lnTo>
                <a:pt x="0" y="41403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23B913-7545-416C-B269-F54300B4F910}">
      <dsp:nvSpPr>
        <dsp:cNvPr id="0" name=""/>
        <dsp:cNvSpPr/>
      </dsp:nvSpPr>
      <dsp:spPr>
        <a:xfrm>
          <a:off x="2619" y="3132923"/>
          <a:ext cx="1552649" cy="10350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Android</a:t>
          </a:r>
          <a:endParaRPr lang="en-US" sz="2000" kern="1200" dirty="0"/>
        </a:p>
      </dsp:txBody>
      <dsp:txXfrm>
        <a:off x="32936" y="3163240"/>
        <a:ext cx="1492015" cy="974465"/>
      </dsp:txXfrm>
    </dsp:sp>
    <dsp:sp modelId="{024CCE40-828F-47AC-BB80-5D40520F1C91}">
      <dsp:nvSpPr>
        <dsp:cNvPr id="0" name=""/>
        <dsp:cNvSpPr/>
      </dsp:nvSpPr>
      <dsp:spPr>
        <a:xfrm>
          <a:off x="1788166" y="2718883"/>
          <a:ext cx="1009222" cy="4140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019"/>
              </a:lnTo>
              <a:lnTo>
                <a:pt x="1009222" y="207019"/>
              </a:lnTo>
              <a:lnTo>
                <a:pt x="1009222" y="41403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80E9B4-F2C5-464F-8153-30E169C9E996}">
      <dsp:nvSpPr>
        <dsp:cNvPr id="0" name=""/>
        <dsp:cNvSpPr/>
      </dsp:nvSpPr>
      <dsp:spPr>
        <a:xfrm>
          <a:off x="2021064" y="3132923"/>
          <a:ext cx="1552649" cy="10350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iOS</a:t>
          </a:r>
          <a:endParaRPr lang="en-US" sz="2000" kern="1200" dirty="0"/>
        </a:p>
      </dsp:txBody>
      <dsp:txXfrm>
        <a:off x="2051381" y="3163240"/>
        <a:ext cx="1492015" cy="974465"/>
      </dsp:txXfrm>
    </dsp:sp>
    <dsp:sp modelId="{2E6C1808-58D7-4D75-BE57-F75B807EB925}">
      <dsp:nvSpPr>
        <dsp:cNvPr id="0" name=""/>
        <dsp:cNvSpPr/>
      </dsp:nvSpPr>
      <dsp:spPr>
        <a:xfrm>
          <a:off x="3760891" y="1269743"/>
          <a:ext cx="91440" cy="41403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403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28750D-C033-401B-89B0-7509C21492D1}">
      <dsp:nvSpPr>
        <dsp:cNvPr id="0" name=""/>
        <dsp:cNvSpPr/>
      </dsp:nvSpPr>
      <dsp:spPr>
        <a:xfrm>
          <a:off x="3030286" y="1683783"/>
          <a:ext cx="1552649" cy="103509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Classic web</a:t>
          </a:r>
          <a:endParaRPr lang="en-US" sz="2000" kern="1200" dirty="0"/>
        </a:p>
      </dsp:txBody>
      <dsp:txXfrm>
        <a:off x="3060603" y="1714100"/>
        <a:ext cx="1492015" cy="974465"/>
      </dsp:txXfrm>
    </dsp:sp>
    <dsp:sp modelId="{43E363EF-5178-43E4-B5BF-371D1EE3FFCB}">
      <dsp:nvSpPr>
        <dsp:cNvPr id="0" name=""/>
        <dsp:cNvSpPr/>
      </dsp:nvSpPr>
      <dsp:spPr>
        <a:xfrm>
          <a:off x="3806611" y="1269743"/>
          <a:ext cx="2018444" cy="4140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019"/>
              </a:lnTo>
              <a:lnTo>
                <a:pt x="2018444" y="207019"/>
              </a:lnTo>
              <a:lnTo>
                <a:pt x="2018444" y="41403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6AFEAC-3BC9-4D03-AC85-E8362DCAA84E}">
      <dsp:nvSpPr>
        <dsp:cNvPr id="0" name=""/>
        <dsp:cNvSpPr/>
      </dsp:nvSpPr>
      <dsp:spPr>
        <a:xfrm>
          <a:off x="5048730" y="1683783"/>
          <a:ext cx="1552649" cy="103509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sponsive Web Design</a:t>
          </a:r>
        </a:p>
      </dsp:txBody>
      <dsp:txXfrm>
        <a:off x="5079047" y="1714100"/>
        <a:ext cx="1492015" cy="974465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4D588B-2C5E-413E-8FB3-A45A598FE77E}">
      <dsp:nvSpPr>
        <dsp:cNvPr id="0" name=""/>
        <dsp:cNvSpPr/>
      </dsp:nvSpPr>
      <dsp:spPr>
        <a:xfrm>
          <a:off x="1900" y="1945744"/>
          <a:ext cx="2848683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atabase module</a:t>
          </a:r>
        </a:p>
      </dsp:txBody>
      <dsp:txXfrm>
        <a:off x="28348" y="1972192"/>
        <a:ext cx="2795787" cy="850091"/>
      </dsp:txXfrm>
    </dsp:sp>
    <dsp:sp modelId="{CDB456C7-FEB2-4189-8DB4-859E0B913BE7}">
      <dsp:nvSpPr>
        <dsp:cNvPr id="0" name=""/>
        <dsp:cNvSpPr/>
      </dsp:nvSpPr>
      <dsp:spPr>
        <a:xfrm>
          <a:off x="2393549" y="47228"/>
          <a:ext cx="454754" cy="1854329"/>
        </a:xfrm>
        <a:prstGeom prst="roundRect">
          <a:avLst>
            <a:gd name="adj" fmla="val 1000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Security module</a:t>
          </a:r>
        </a:p>
      </dsp:txBody>
      <dsp:txXfrm>
        <a:off x="2406868" y="60547"/>
        <a:ext cx="428116" cy="1827691"/>
      </dsp:txXfrm>
    </dsp:sp>
    <dsp:sp modelId="{79946D67-CF20-4533-873C-9747C402A031}">
      <dsp:nvSpPr>
        <dsp:cNvPr id="0" name=""/>
        <dsp:cNvSpPr/>
      </dsp:nvSpPr>
      <dsp:spPr>
        <a:xfrm>
          <a:off x="2853" y="1006663"/>
          <a:ext cx="2350169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WebAPI module</a:t>
          </a:r>
        </a:p>
      </dsp:txBody>
      <dsp:txXfrm>
        <a:off x="29301" y="1033111"/>
        <a:ext cx="2297273" cy="850091"/>
      </dsp:txXfrm>
    </dsp:sp>
    <dsp:sp modelId="{7951CDCD-4F97-4CCA-8C56-4992B72B07BB}">
      <dsp:nvSpPr>
        <dsp:cNvPr id="0" name=""/>
        <dsp:cNvSpPr/>
      </dsp:nvSpPr>
      <dsp:spPr>
        <a:xfrm>
          <a:off x="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28575"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UI (Selenium) module</a:t>
          </a:r>
        </a:p>
      </dsp:txBody>
      <dsp:txXfrm>
        <a:off x="13320" y="87488"/>
        <a:ext cx="428116" cy="876349"/>
      </dsp:txXfrm>
    </dsp:sp>
    <dsp:sp modelId="{16415C91-F210-4416-A0F4-1AA0347D5471}">
      <dsp:nvSpPr>
        <dsp:cNvPr id="0" name=""/>
        <dsp:cNvSpPr/>
      </dsp:nvSpPr>
      <dsp:spPr>
        <a:xfrm>
          <a:off x="473714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28575"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/>
            <a:t>Selenium Grid</a:t>
          </a:r>
        </a:p>
      </dsp:txBody>
      <dsp:txXfrm>
        <a:off x="487033" y="87488"/>
        <a:ext cx="428116" cy="876349"/>
      </dsp:txXfrm>
    </dsp:sp>
    <dsp:sp modelId="{D8A6C93A-917D-4567-B16D-E30EEE8A93BD}">
      <dsp:nvSpPr>
        <dsp:cNvPr id="0" name=""/>
        <dsp:cNvSpPr/>
      </dsp:nvSpPr>
      <dsp:spPr>
        <a:xfrm>
          <a:off x="947567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(</a:t>
          </a:r>
          <a:r>
            <a:rPr lang="en-US" sz="500" kern="1200" noProof="0" dirty="0" err="1"/>
            <a:t>Appium</a:t>
          </a:r>
          <a:r>
            <a:rPr lang="en-US" sz="500" kern="1200" noProof="0" dirty="0"/>
            <a:t>)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960886" y="87488"/>
        <a:ext cx="428116" cy="876349"/>
      </dsp:txXfrm>
    </dsp:sp>
    <dsp:sp modelId="{10845D90-6534-40EB-8279-CF7912BF2E6A}">
      <dsp:nvSpPr>
        <dsp:cNvPr id="0" name=""/>
        <dsp:cNvSpPr/>
      </dsp:nvSpPr>
      <dsp:spPr>
        <a:xfrm>
          <a:off x="142142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</a:t>
          </a:r>
          <a:br>
            <a:rPr lang="pl-PL" sz="500" kern="1200" noProof="0" dirty="0"/>
          </a:br>
          <a:r>
            <a:rPr lang="en-US" sz="500" kern="1200" noProof="0" dirty="0"/>
            <a:t>Grid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434740" y="87488"/>
        <a:ext cx="428116" cy="876349"/>
      </dsp:txXfrm>
    </dsp:sp>
    <dsp:sp modelId="{9A46057F-5CDA-4B57-BF6D-897D216AF86F}">
      <dsp:nvSpPr>
        <dsp:cNvPr id="0" name=""/>
        <dsp:cNvSpPr/>
      </dsp:nvSpPr>
      <dsp:spPr>
        <a:xfrm>
          <a:off x="1895275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Standalone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908594" y="87488"/>
        <a:ext cx="428116" cy="876349"/>
      </dsp:txXfrm>
    </dsp:sp>
    <dsp:sp modelId="{1F321622-6935-42D4-AE83-D556256DD586}">
      <dsp:nvSpPr>
        <dsp:cNvPr id="0" name=""/>
        <dsp:cNvSpPr/>
      </dsp:nvSpPr>
      <dsp:spPr>
        <a:xfrm>
          <a:off x="2894018" y="56369"/>
          <a:ext cx="455643" cy="2792362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evOps module</a:t>
          </a:r>
        </a:p>
      </dsp:txBody>
      <dsp:txXfrm>
        <a:off x="2907363" y="69714"/>
        <a:ext cx="428953" cy="2765672"/>
      </dsp:txXfrm>
    </dsp:sp>
    <dsp:sp modelId="{AF9421C1-0977-4165-AE01-1E0941FF1DC2}">
      <dsp:nvSpPr>
        <dsp:cNvPr id="0" name=""/>
        <dsp:cNvSpPr/>
      </dsp:nvSpPr>
      <dsp:spPr>
        <a:xfrm>
          <a:off x="3395794" y="56252"/>
          <a:ext cx="455643" cy="2791612"/>
        </a:xfrm>
        <a:prstGeom prst="roundRect">
          <a:avLst>
            <a:gd name="adj" fmla="val 10000"/>
          </a:avLst>
        </a:prstGeom>
        <a:solidFill>
          <a:srgbClr val="0085B3"/>
        </a:solidFill>
        <a:ln w="28575"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Test core module</a:t>
          </a:r>
        </a:p>
      </dsp:txBody>
      <dsp:txXfrm>
        <a:off x="3409139" y="69597"/>
        <a:ext cx="428953" cy="2764922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600016" y="0"/>
          <a:ext cx="624556" cy="989360"/>
        </a:xfrm>
        <a:prstGeom prst="trapezoid">
          <a:avLst>
            <a:gd name="adj" fmla="val 50000"/>
          </a:avLst>
        </a:prstGeom>
        <a:solidFill>
          <a:srgbClr val="7030A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000" kern="1200" dirty="0"/>
          </a:br>
          <a:r>
            <a:rPr lang="en-US" sz="2000" kern="1200" dirty="0"/>
            <a:t>UI</a:t>
          </a:r>
        </a:p>
      </dsp:txBody>
      <dsp:txXfrm>
        <a:off x="600016" y="0"/>
        <a:ext cx="624556" cy="989360"/>
      </dsp:txXfrm>
    </dsp:sp>
    <dsp:sp modelId="{3DF1A04F-9824-4FA2-8E9B-69197A34DB02}">
      <dsp:nvSpPr>
        <dsp:cNvPr id="0" name=""/>
        <dsp:cNvSpPr/>
      </dsp:nvSpPr>
      <dsp:spPr>
        <a:xfrm>
          <a:off x="307783" y="978782"/>
          <a:ext cx="1215490" cy="936099"/>
        </a:xfrm>
        <a:prstGeom prst="trapezoid">
          <a:avLst>
            <a:gd name="adj" fmla="val 31564"/>
          </a:avLst>
        </a:prstGeom>
        <a:solidFill>
          <a:schemeClr val="accent3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PI</a:t>
          </a:r>
        </a:p>
      </dsp:txBody>
      <dsp:txXfrm>
        <a:off x="520494" y="978782"/>
        <a:ext cx="790068" cy="936099"/>
      </dsp:txXfrm>
    </dsp:sp>
    <dsp:sp modelId="{D9074314-C21A-447C-9E4D-59C6F495C412}">
      <dsp:nvSpPr>
        <dsp:cNvPr id="0" name=""/>
        <dsp:cNvSpPr/>
      </dsp:nvSpPr>
      <dsp:spPr>
        <a:xfrm>
          <a:off x="0" y="1925459"/>
          <a:ext cx="1818319" cy="954940"/>
        </a:xfrm>
        <a:prstGeom prst="trapezoid">
          <a:avLst>
            <a:gd name="adj" fmla="val 31564"/>
          </a:avLst>
        </a:prstGeom>
        <a:solidFill>
          <a:srgbClr val="FFC00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BACKEND</a:t>
          </a:r>
          <a:endParaRPr lang="en-US" sz="2000" kern="1200" dirty="0"/>
        </a:p>
      </dsp:txBody>
      <dsp:txXfrm>
        <a:off x="318205" y="1925459"/>
        <a:ext cx="1181907" cy="954940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E751BE-D8C3-4A01-A226-007B87904C14}">
      <dsp:nvSpPr>
        <dsp:cNvPr id="0" name=""/>
        <dsp:cNvSpPr/>
      </dsp:nvSpPr>
      <dsp:spPr>
        <a:xfrm rot="5400000">
          <a:off x="2758913" y="-965693"/>
          <a:ext cx="847857" cy="299561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/>
            <a:t>Documenta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/>
            <a:t>One installer script</a:t>
          </a:r>
        </a:p>
      </dsp:txBody>
      <dsp:txXfrm rot="-5400000">
        <a:off x="1685034" y="149575"/>
        <a:ext cx="2954227" cy="765079"/>
      </dsp:txXfrm>
    </dsp:sp>
    <dsp:sp modelId="{5B0B5757-74C6-45A8-BC8F-10D4681765BB}">
      <dsp:nvSpPr>
        <dsp:cNvPr id="0" name=""/>
        <dsp:cNvSpPr/>
      </dsp:nvSpPr>
      <dsp:spPr>
        <a:xfrm>
          <a:off x="0" y="2203"/>
          <a:ext cx="1685034" cy="105982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noProof="0"/>
            <a:t>Easy to install</a:t>
          </a:r>
          <a:endParaRPr lang="en-US" sz="1800" kern="1200" noProof="0"/>
        </a:p>
      </dsp:txBody>
      <dsp:txXfrm>
        <a:off x="51736" y="53939"/>
        <a:ext cx="1581562" cy="956349"/>
      </dsp:txXfrm>
    </dsp:sp>
    <dsp:sp modelId="{C7B3A613-7B1A-4F14-8953-6AF0782C9A0A}">
      <dsp:nvSpPr>
        <dsp:cNvPr id="0" name=""/>
        <dsp:cNvSpPr/>
      </dsp:nvSpPr>
      <dsp:spPr>
        <a:xfrm rot="5400000">
          <a:off x="2758913" y="147119"/>
          <a:ext cx="847857" cy="2995616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noProof="0"/>
            <a:t>solution created on top of Docker Swarm</a:t>
          </a:r>
          <a:endParaRPr lang="en-US" sz="1200" kern="1200" noProof="0"/>
        </a:p>
      </dsp:txBody>
      <dsp:txXfrm rot="-5400000">
        <a:off x="1685034" y="1262388"/>
        <a:ext cx="2954227" cy="765079"/>
      </dsp:txXfrm>
    </dsp:sp>
    <dsp:sp modelId="{E9D78998-541D-4400-B24E-77A0598956DE}">
      <dsp:nvSpPr>
        <dsp:cNvPr id="0" name=""/>
        <dsp:cNvSpPr/>
      </dsp:nvSpPr>
      <dsp:spPr>
        <a:xfrm>
          <a:off x="0" y="1115016"/>
          <a:ext cx="1685034" cy="105982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noProof="0"/>
            <a:t>Auto-scaling</a:t>
          </a:r>
          <a:endParaRPr lang="en-US" sz="1800" kern="1200" noProof="0"/>
        </a:p>
      </dsp:txBody>
      <dsp:txXfrm>
        <a:off x="51736" y="1166752"/>
        <a:ext cx="1581562" cy="956349"/>
      </dsp:txXfrm>
    </dsp:sp>
    <dsp:sp modelId="{E9F8012A-836C-4D5E-B5CF-5245DA27C291}">
      <dsp:nvSpPr>
        <dsp:cNvPr id="0" name=""/>
        <dsp:cNvSpPr/>
      </dsp:nvSpPr>
      <dsp:spPr>
        <a:xfrm rot="5400000">
          <a:off x="2758913" y="1259931"/>
          <a:ext cx="847857" cy="2995616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/>
            <a:t>on-premise or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noProof="0" dirty="0"/>
            <a:t>cloud provider</a:t>
          </a:r>
          <a:r>
            <a:rPr lang="pl-PL" sz="1200" kern="1200" noProof="0" dirty="0"/>
            <a:t> ( AWS, </a:t>
          </a:r>
          <a:r>
            <a:rPr lang="pl-PL" sz="1200" kern="1200" noProof="0" dirty="0" err="1"/>
            <a:t>Azure</a:t>
          </a:r>
          <a:r>
            <a:rPr lang="pl-PL" sz="1200" kern="1200" noProof="0" dirty="0"/>
            <a:t>, Google Cloud)</a:t>
          </a:r>
          <a:endParaRPr lang="en-US" sz="1200" kern="1200" noProof="0" dirty="0"/>
        </a:p>
      </dsp:txBody>
      <dsp:txXfrm rot="-5400000">
        <a:off x="1685034" y="2375200"/>
        <a:ext cx="2954227" cy="765079"/>
      </dsp:txXfrm>
    </dsp:sp>
    <dsp:sp modelId="{935DFA29-C3E8-4CB0-9B29-DFACF10BD8DF}">
      <dsp:nvSpPr>
        <dsp:cNvPr id="0" name=""/>
        <dsp:cNvSpPr/>
      </dsp:nvSpPr>
      <dsp:spPr>
        <a:xfrm>
          <a:off x="0" y="2227829"/>
          <a:ext cx="1685034" cy="1059821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/>
            <a:t>Transparent infrastructure</a:t>
          </a:r>
        </a:p>
      </dsp:txBody>
      <dsp:txXfrm>
        <a:off x="51736" y="2279565"/>
        <a:ext cx="1581562" cy="956349"/>
      </dsp:txXfrm>
    </dsp:sp>
    <dsp:sp modelId="{E08A42E7-8E9F-430A-BC5F-95896E2DEDEB}">
      <dsp:nvSpPr>
        <dsp:cNvPr id="0" name=""/>
        <dsp:cNvSpPr/>
      </dsp:nvSpPr>
      <dsp:spPr>
        <a:xfrm rot="5400000">
          <a:off x="2758913" y="2372744"/>
          <a:ext cx="847857" cy="2995616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noProof="0" dirty="0" err="1"/>
            <a:t>docker</a:t>
          </a:r>
          <a:r>
            <a:rPr lang="en-US" sz="1200" b="0" kern="1200" noProof="0" dirty="0"/>
            <a:t> Selenium images</a:t>
          </a:r>
        </a:p>
      </dsp:txBody>
      <dsp:txXfrm rot="-5400000">
        <a:off x="1685034" y="3488013"/>
        <a:ext cx="2954227" cy="765079"/>
      </dsp:txXfrm>
    </dsp:sp>
    <dsp:sp modelId="{086B8B3E-0606-436E-A2D9-F6953373EF94}">
      <dsp:nvSpPr>
        <dsp:cNvPr id="0" name=""/>
        <dsp:cNvSpPr/>
      </dsp:nvSpPr>
      <dsp:spPr>
        <a:xfrm>
          <a:off x="0" y="3340641"/>
          <a:ext cx="1685034" cy="105982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noProof="0"/>
            <a:t>Well defined upgrade process</a:t>
          </a:r>
        </a:p>
      </dsp:txBody>
      <dsp:txXfrm>
        <a:off x="51736" y="3392377"/>
        <a:ext cx="1581562" cy="956349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8249C3-4A73-4D5F-9305-861CF5E59FF8}">
      <dsp:nvSpPr>
        <dsp:cNvPr id="0" name=""/>
        <dsp:cNvSpPr/>
      </dsp:nvSpPr>
      <dsp:spPr>
        <a:xfrm rot="5400000">
          <a:off x="-9280" y="982440"/>
          <a:ext cx="1533202" cy="18506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98CD0D4-8817-435E-B34C-8F504BBCDC84}">
      <dsp:nvSpPr>
        <dsp:cNvPr id="0" name=""/>
        <dsp:cNvSpPr/>
      </dsp:nvSpPr>
      <dsp:spPr>
        <a:xfrm>
          <a:off x="341553" y="1191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noProof="0"/>
            <a:t>Jenkins as build and test executor</a:t>
          </a:r>
          <a:endParaRPr lang="en-US" sz="1900" kern="1200" noProof="0"/>
        </a:p>
      </dsp:txBody>
      <dsp:txXfrm>
        <a:off x="377689" y="37327"/>
        <a:ext cx="1984021" cy="1161504"/>
      </dsp:txXfrm>
    </dsp:sp>
    <dsp:sp modelId="{956E9397-20FE-42F1-8665-141C7AFA1AF7}">
      <dsp:nvSpPr>
        <dsp:cNvPr id="0" name=""/>
        <dsp:cNvSpPr/>
      </dsp:nvSpPr>
      <dsp:spPr>
        <a:xfrm rot="5400000">
          <a:off x="-9280" y="2524660"/>
          <a:ext cx="1533202" cy="18506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102A76-6F72-459D-B4E6-D46E0481D375}">
      <dsp:nvSpPr>
        <dsp:cNvPr id="0" name=""/>
        <dsp:cNvSpPr/>
      </dsp:nvSpPr>
      <dsp:spPr>
        <a:xfrm>
          <a:off x="341553" y="1543411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noProof="0"/>
            <a:t>Cost efficient solution</a:t>
          </a:r>
          <a:endParaRPr lang="en-US" sz="1900" kern="1200" noProof="0"/>
        </a:p>
        <a:p>
          <a:pPr marL="114300" lvl="1" indent="-114300" algn="l" defTabSz="6667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noProof="0"/>
            <a:t>Docker Swarm</a:t>
          </a:r>
          <a:endParaRPr lang="en-US" sz="1500" kern="1200" noProof="0"/>
        </a:p>
      </dsp:txBody>
      <dsp:txXfrm>
        <a:off x="377689" y="1579547"/>
        <a:ext cx="1984021" cy="1161504"/>
      </dsp:txXfrm>
    </dsp:sp>
    <dsp:sp modelId="{EC830D6E-8491-452E-BC8E-448308E85EE0}">
      <dsp:nvSpPr>
        <dsp:cNvPr id="0" name=""/>
        <dsp:cNvSpPr/>
      </dsp:nvSpPr>
      <dsp:spPr>
        <a:xfrm>
          <a:off x="761829" y="3295770"/>
          <a:ext cx="2725852" cy="1850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85728F8-782E-46C1-A1C9-F051C6EA8A4D}">
      <dsp:nvSpPr>
        <dsp:cNvPr id="0" name=""/>
        <dsp:cNvSpPr/>
      </dsp:nvSpPr>
      <dsp:spPr>
        <a:xfrm>
          <a:off x="341553" y="3085632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noProof="0"/>
            <a:t>Out of the box settings</a:t>
          </a:r>
        </a:p>
      </dsp:txBody>
      <dsp:txXfrm>
        <a:off x="377689" y="3121768"/>
        <a:ext cx="1984021" cy="1161504"/>
      </dsp:txXfrm>
    </dsp:sp>
    <dsp:sp modelId="{AD405285-37E4-4B89-897C-88E45161E774}">
      <dsp:nvSpPr>
        <dsp:cNvPr id="0" name=""/>
        <dsp:cNvSpPr/>
      </dsp:nvSpPr>
      <dsp:spPr>
        <a:xfrm rot="16200000">
          <a:off x="2725589" y="2524660"/>
          <a:ext cx="1533202" cy="18506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DEF5627-F5E5-4777-8AE4-AD7822E663F2}">
      <dsp:nvSpPr>
        <dsp:cNvPr id="0" name=""/>
        <dsp:cNvSpPr/>
      </dsp:nvSpPr>
      <dsp:spPr>
        <a:xfrm>
          <a:off x="3076423" y="3085632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noProof="0"/>
            <a:t>Example Jenkins jobs</a:t>
          </a:r>
        </a:p>
      </dsp:txBody>
      <dsp:txXfrm>
        <a:off x="3112559" y="3121768"/>
        <a:ext cx="1984021" cy="1161504"/>
      </dsp:txXfrm>
    </dsp:sp>
    <dsp:sp modelId="{97DABAC9-DD52-4CC2-8A05-7E822617B84C}">
      <dsp:nvSpPr>
        <dsp:cNvPr id="0" name=""/>
        <dsp:cNvSpPr/>
      </dsp:nvSpPr>
      <dsp:spPr>
        <a:xfrm rot="16200000">
          <a:off x="2725589" y="982440"/>
          <a:ext cx="1533202" cy="18506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91465C-9BC8-404A-B08C-4E28FF51A00D}">
      <dsp:nvSpPr>
        <dsp:cNvPr id="0" name=""/>
        <dsp:cNvSpPr/>
      </dsp:nvSpPr>
      <dsp:spPr>
        <a:xfrm>
          <a:off x="3076423" y="1543411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noProof="0"/>
            <a:t>Jobs created with „Pipeline as a code” mind set</a:t>
          </a:r>
        </a:p>
      </dsp:txBody>
      <dsp:txXfrm>
        <a:off x="3112559" y="1579547"/>
        <a:ext cx="1984021" cy="1161504"/>
      </dsp:txXfrm>
    </dsp:sp>
    <dsp:sp modelId="{06893624-3A37-4B62-8C7F-A82C8A11690F}">
      <dsp:nvSpPr>
        <dsp:cNvPr id="0" name=""/>
        <dsp:cNvSpPr/>
      </dsp:nvSpPr>
      <dsp:spPr>
        <a:xfrm>
          <a:off x="3496699" y="211330"/>
          <a:ext cx="2725852" cy="18506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3E5E8B8-5EA6-4BCA-B8AA-6F66A64296CD}">
      <dsp:nvSpPr>
        <dsp:cNvPr id="0" name=""/>
        <dsp:cNvSpPr/>
      </dsp:nvSpPr>
      <dsp:spPr>
        <a:xfrm>
          <a:off x="3076423" y="1191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noProof="0"/>
            <a:t>Build dependencies as continers</a:t>
          </a:r>
        </a:p>
      </dsp:txBody>
      <dsp:txXfrm>
        <a:off x="3112559" y="37327"/>
        <a:ext cx="1984021" cy="1161504"/>
      </dsp:txXfrm>
    </dsp:sp>
    <dsp:sp modelId="{38193E3E-BBFE-4D6F-9FCF-5E938A1F66A3}">
      <dsp:nvSpPr>
        <dsp:cNvPr id="0" name=""/>
        <dsp:cNvSpPr/>
      </dsp:nvSpPr>
      <dsp:spPr>
        <a:xfrm>
          <a:off x="5811293" y="1191"/>
          <a:ext cx="2056293" cy="12337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noProof="0" dirty="0" err="1"/>
            <a:t>Docker</a:t>
          </a:r>
          <a:r>
            <a:rPr lang="en-US" sz="1900" kern="1200" noProof="0" dirty="0"/>
            <a:t> registry for project </a:t>
          </a:r>
          <a:r>
            <a:rPr lang="en-US" sz="1900" kern="1200" noProof="0" dirty="0" err="1"/>
            <a:t>docker</a:t>
          </a:r>
          <a:r>
            <a:rPr lang="en-US" sz="1900" kern="1200" noProof="0" dirty="0"/>
            <a:t> images </a:t>
          </a:r>
        </a:p>
      </dsp:txBody>
      <dsp:txXfrm>
        <a:off x="5847429" y="37327"/>
        <a:ext cx="1984021" cy="1161504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4D588B-2C5E-413E-8FB3-A45A598FE77E}">
      <dsp:nvSpPr>
        <dsp:cNvPr id="0" name=""/>
        <dsp:cNvSpPr/>
      </dsp:nvSpPr>
      <dsp:spPr>
        <a:xfrm>
          <a:off x="1900" y="1945744"/>
          <a:ext cx="2848683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atabase module</a:t>
          </a:r>
        </a:p>
      </dsp:txBody>
      <dsp:txXfrm>
        <a:off x="28348" y="1972192"/>
        <a:ext cx="2795787" cy="850091"/>
      </dsp:txXfrm>
    </dsp:sp>
    <dsp:sp modelId="{CDB456C7-FEB2-4189-8DB4-859E0B913BE7}">
      <dsp:nvSpPr>
        <dsp:cNvPr id="0" name=""/>
        <dsp:cNvSpPr/>
      </dsp:nvSpPr>
      <dsp:spPr>
        <a:xfrm>
          <a:off x="2393549" y="47228"/>
          <a:ext cx="454754" cy="1854329"/>
        </a:xfrm>
        <a:prstGeom prst="roundRect">
          <a:avLst>
            <a:gd name="adj" fmla="val 1000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Security module</a:t>
          </a:r>
        </a:p>
      </dsp:txBody>
      <dsp:txXfrm>
        <a:off x="2406868" y="60547"/>
        <a:ext cx="428116" cy="1827691"/>
      </dsp:txXfrm>
    </dsp:sp>
    <dsp:sp modelId="{79946D67-CF20-4533-873C-9747C402A031}">
      <dsp:nvSpPr>
        <dsp:cNvPr id="0" name=""/>
        <dsp:cNvSpPr/>
      </dsp:nvSpPr>
      <dsp:spPr>
        <a:xfrm>
          <a:off x="2853" y="1006663"/>
          <a:ext cx="2350169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28575"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WebAPI module</a:t>
          </a:r>
        </a:p>
      </dsp:txBody>
      <dsp:txXfrm>
        <a:off x="29301" y="1033111"/>
        <a:ext cx="2297273" cy="850091"/>
      </dsp:txXfrm>
    </dsp:sp>
    <dsp:sp modelId="{7951CDCD-4F97-4CCA-8C56-4992B72B07BB}">
      <dsp:nvSpPr>
        <dsp:cNvPr id="0" name=""/>
        <dsp:cNvSpPr/>
      </dsp:nvSpPr>
      <dsp:spPr>
        <a:xfrm>
          <a:off x="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28575"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/>
            <a:t>UI (Selenium) module</a:t>
          </a:r>
        </a:p>
      </dsp:txBody>
      <dsp:txXfrm>
        <a:off x="13320" y="87488"/>
        <a:ext cx="428116" cy="876349"/>
      </dsp:txXfrm>
    </dsp:sp>
    <dsp:sp modelId="{16415C91-F210-4416-A0F4-1AA0347D5471}">
      <dsp:nvSpPr>
        <dsp:cNvPr id="0" name=""/>
        <dsp:cNvSpPr/>
      </dsp:nvSpPr>
      <dsp:spPr>
        <a:xfrm>
          <a:off x="473714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/>
            <a:t>Selenium Grid</a:t>
          </a:r>
        </a:p>
      </dsp:txBody>
      <dsp:txXfrm>
        <a:off x="487033" y="87488"/>
        <a:ext cx="428116" cy="876349"/>
      </dsp:txXfrm>
    </dsp:sp>
    <dsp:sp modelId="{D8A6C93A-917D-4567-B16D-E30EEE8A93BD}">
      <dsp:nvSpPr>
        <dsp:cNvPr id="0" name=""/>
        <dsp:cNvSpPr/>
      </dsp:nvSpPr>
      <dsp:spPr>
        <a:xfrm>
          <a:off x="947567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(</a:t>
          </a:r>
          <a:r>
            <a:rPr lang="en-US" sz="500" kern="1200" noProof="0" dirty="0" err="1"/>
            <a:t>Appium</a:t>
          </a:r>
          <a:r>
            <a:rPr lang="en-US" sz="500" kern="1200" noProof="0" dirty="0"/>
            <a:t>)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960886" y="87488"/>
        <a:ext cx="428116" cy="876349"/>
      </dsp:txXfrm>
    </dsp:sp>
    <dsp:sp modelId="{10845D90-6534-40EB-8279-CF7912BF2E6A}">
      <dsp:nvSpPr>
        <dsp:cNvPr id="0" name=""/>
        <dsp:cNvSpPr/>
      </dsp:nvSpPr>
      <dsp:spPr>
        <a:xfrm>
          <a:off x="1421421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Mobile </a:t>
          </a:r>
          <a:br>
            <a:rPr lang="pl-PL" sz="500" kern="1200" noProof="0" dirty="0"/>
          </a:br>
          <a:r>
            <a:rPr lang="en-US" sz="500" kern="1200" noProof="0" dirty="0"/>
            <a:t>Grid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434740" y="87488"/>
        <a:ext cx="428116" cy="876349"/>
      </dsp:txXfrm>
    </dsp:sp>
    <dsp:sp modelId="{9A46057F-5CDA-4B57-BF6D-897D216AF86F}">
      <dsp:nvSpPr>
        <dsp:cNvPr id="0" name=""/>
        <dsp:cNvSpPr/>
      </dsp:nvSpPr>
      <dsp:spPr>
        <a:xfrm>
          <a:off x="1895275" y="74169"/>
          <a:ext cx="454754" cy="90298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noProof="0" dirty="0"/>
            <a:t>Standalone APP</a:t>
          </a:r>
          <a:r>
            <a:rPr lang="pl-PL" sz="500" kern="1200" noProof="0" dirty="0"/>
            <a:t> *</a:t>
          </a:r>
          <a:endParaRPr lang="en-US" sz="500" kern="1200" noProof="0" dirty="0"/>
        </a:p>
      </dsp:txBody>
      <dsp:txXfrm>
        <a:off x="1908594" y="87488"/>
        <a:ext cx="428116" cy="876349"/>
      </dsp:txXfrm>
    </dsp:sp>
    <dsp:sp modelId="{1F321622-6935-42D4-AE83-D556256DD586}">
      <dsp:nvSpPr>
        <dsp:cNvPr id="0" name=""/>
        <dsp:cNvSpPr/>
      </dsp:nvSpPr>
      <dsp:spPr>
        <a:xfrm>
          <a:off x="2894018" y="56369"/>
          <a:ext cx="455643" cy="2792362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/>
            <a:t>DevOps module</a:t>
          </a:r>
        </a:p>
      </dsp:txBody>
      <dsp:txXfrm>
        <a:off x="2907363" y="69714"/>
        <a:ext cx="428953" cy="2765672"/>
      </dsp:txXfrm>
    </dsp:sp>
    <dsp:sp modelId="{AF9421C1-0977-4165-AE01-1E0941FF1DC2}">
      <dsp:nvSpPr>
        <dsp:cNvPr id="0" name=""/>
        <dsp:cNvSpPr/>
      </dsp:nvSpPr>
      <dsp:spPr>
        <a:xfrm>
          <a:off x="3395794" y="56252"/>
          <a:ext cx="455643" cy="2791612"/>
        </a:xfrm>
        <a:prstGeom prst="roundRect">
          <a:avLst>
            <a:gd name="adj" fmla="val 10000"/>
          </a:avLst>
        </a:prstGeom>
        <a:solidFill>
          <a:srgbClr val="0085B3"/>
        </a:solidFill>
        <a:ln w="28575"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Test core module</a:t>
          </a:r>
        </a:p>
      </dsp:txBody>
      <dsp:txXfrm>
        <a:off x="3409139" y="69597"/>
        <a:ext cx="428953" cy="2764922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600016" y="0"/>
          <a:ext cx="624556" cy="989360"/>
        </a:xfrm>
        <a:prstGeom prst="trapezoid">
          <a:avLst>
            <a:gd name="adj" fmla="val 50000"/>
          </a:avLst>
        </a:prstGeom>
        <a:solidFill>
          <a:srgbClr val="7030A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000" kern="1200" dirty="0"/>
          </a:br>
          <a:r>
            <a:rPr lang="en-US" sz="2000" kern="1200" dirty="0"/>
            <a:t>UI</a:t>
          </a:r>
        </a:p>
      </dsp:txBody>
      <dsp:txXfrm>
        <a:off x="600016" y="0"/>
        <a:ext cx="624556" cy="989360"/>
      </dsp:txXfrm>
    </dsp:sp>
    <dsp:sp modelId="{3DF1A04F-9824-4FA2-8E9B-69197A34DB02}">
      <dsp:nvSpPr>
        <dsp:cNvPr id="0" name=""/>
        <dsp:cNvSpPr/>
      </dsp:nvSpPr>
      <dsp:spPr>
        <a:xfrm>
          <a:off x="307783" y="978782"/>
          <a:ext cx="1215490" cy="936099"/>
        </a:xfrm>
        <a:prstGeom prst="trapezoid">
          <a:avLst>
            <a:gd name="adj" fmla="val 31564"/>
          </a:avLst>
        </a:prstGeom>
        <a:solidFill>
          <a:schemeClr val="accent3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PI</a:t>
          </a:r>
        </a:p>
      </dsp:txBody>
      <dsp:txXfrm>
        <a:off x="520494" y="978782"/>
        <a:ext cx="790068" cy="936099"/>
      </dsp:txXfrm>
    </dsp:sp>
    <dsp:sp modelId="{D9074314-C21A-447C-9E4D-59C6F495C412}">
      <dsp:nvSpPr>
        <dsp:cNvPr id="0" name=""/>
        <dsp:cNvSpPr/>
      </dsp:nvSpPr>
      <dsp:spPr>
        <a:xfrm>
          <a:off x="0" y="1925459"/>
          <a:ext cx="1818319" cy="954940"/>
        </a:xfrm>
        <a:prstGeom prst="trapezoid">
          <a:avLst>
            <a:gd name="adj" fmla="val 31564"/>
          </a:avLst>
        </a:prstGeom>
        <a:solidFill>
          <a:srgbClr val="FFC00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000" kern="1200" dirty="0"/>
            <a:t>BACKEND</a:t>
          </a:r>
          <a:endParaRPr lang="en-US" sz="2000" kern="1200" dirty="0"/>
        </a:p>
      </dsp:txBody>
      <dsp:txXfrm>
        <a:off x="318205" y="1925459"/>
        <a:ext cx="1181907" cy="954940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116992" y="-783865"/>
          <a:ext cx="6093694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384027-88DA-4DF0-9EA4-B824ACD9ED31}">
      <dsp:nvSpPr>
        <dsp:cNvPr id="0" name=""/>
        <dsp:cNvSpPr/>
      </dsp:nvSpPr>
      <dsp:spPr>
        <a:xfrm>
          <a:off x="511409" y="347956"/>
          <a:ext cx="8341507" cy="6962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668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WebAPI for REST tests with RestAssure library and Java</a:t>
          </a:r>
          <a:endParaRPr lang="en-US" sz="2400" kern="1200" noProof="0"/>
        </a:p>
      </dsp:txBody>
      <dsp:txXfrm>
        <a:off x="511409" y="347956"/>
        <a:ext cx="8341507" cy="696274"/>
      </dsp:txXfrm>
    </dsp:sp>
    <dsp:sp modelId="{027132D5-AC2F-40F3-B0B9-276DCBF2C436}">
      <dsp:nvSpPr>
        <dsp:cNvPr id="0" name=""/>
        <dsp:cNvSpPr/>
      </dsp:nvSpPr>
      <dsp:spPr>
        <a:xfrm>
          <a:off x="76237" y="260921"/>
          <a:ext cx="870342" cy="8703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D2D356-75B9-4F71-9A09-1360274E0708}">
      <dsp:nvSpPr>
        <dsp:cNvPr id="0" name=""/>
        <dsp:cNvSpPr/>
      </dsp:nvSpPr>
      <dsp:spPr>
        <a:xfrm>
          <a:off x="910599" y="1392548"/>
          <a:ext cx="7942317" cy="69627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668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 dirty="0"/>
            <a:t>Test case structure with Given When Then approach</a:t>
          </a:r>
          <a:endParaRPr lang="en-US" sz="2400" kern="1200" noProof="0" dirty="0"/>
        </a:p>
      </dsp:txBody>
      <dsp:txXfrm>
        <a:off x="910599" y="1392548"/>
        <a:ext cx="7942317" cy="696274"/>
      </dsp:txXfrm>
    </dsp:sp>
    <dsp:sp modelId="{876AAFB9-EF87-4539-844B-B2D7225647F2}">
      <dsp:nvSpPr>
        <dsp:cNvPr id="0" name=""/>
        <dsp:cNvSpPr/>
      </dsp:nvSpPr>
      <dsp:spPr>
        <a:xfrm>
          <a:off x="475427" y="1305514"/>
          <a:ext cx="870342" cy="8703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1D5E6F-59BB-4E2E-8142-3270C9A5A2FC}">
      <dsp:nvSpPr>
        <dsp:cNvPr id="0" name=""/>
        <dsp:cNvSpPr/>
      </dsp:nvSpPr>
      <dsp:spPr>
        <a:xfrm>
          <a:off x="910599" y="2437140"/>
          <a:ext cx="7942317" cy="6962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668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Page Object Model architecture</a:t>
          </a:r>
        </a:p>
      </dsp:txBody>
      <dsp:txXfrm>
        <a:off x="910599" y="2437140"/>
        <a:ext cx="7942317" cy="696274"/>
      </dsp:txXfrm>
    </dsp:sp>
    <dsp:sp modelId="{6F18A62C-4246-41F1-8CB4-4C11073D703E}">
      <dsp:nvSpPr>
        <dsp:cNvPr id="0" name=""/>
        <dsp:cNvSpPr/>
      </dsp:nvSpPr>
      <dsp:spPr>
        <a:xfrm>
          <a:off x="475427" y="2350106"/>
          <a:ext cx="870342" cy="8703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99AC49-5909-4997-A638-3FA861CF84DC}">
      <dsp:nvSpPr>
        <dsp:cNvPr id="0" name=""/>
        <dsp:cNvSpPr/>
      </dsp:nvSpPr>
      <dsp:spPr>
        <a:xfrm>
          <a:off x="511409" y="3481732"/>
          <a:ext cx="8341507" cy="6962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668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 dirty="0"/>
            <a:t>Easy to enhance into SOAP </a:t>
          </a:r>
        </a:p>
      </dsp:txBody>
      <dsp:txXfrm>
        <a:off x="511409" y="3481732"/>
        <a:ext cx="8341507" cy="696274"/>
      </dsp:txXfrm>
    </dsp:sp>
    <dsp:sp modelId="{C651CCD8-A471-496D-B0E7-ED7245514EC8}">
      <dsp:nvSpPr>
        <dsp:cNvPr id="0" name=""/>
        <dsp:cNvSpPr/>
      </dsp:nvSpPr>
      <dsp:spPr>
        <a:xfrm>
          <a:off x="76237" y="3394698"/>
          <a:ext cx="870342" cy="8703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8CC475-44FF-4EF6-A0FF-7F5AB70B9092}">
      <dsp:nvSpPr>
        <dsp:cNvPr id="0" name=""/>
        <dsp:cNvSpPr/>
      </dsp:nvSpPr>
      <dsp:spPr>
        <a:xfrm>
          <a:off x="3933802" y="1021"/>
          <a:ext cx="1004027" cy="810578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C9D3B4-AF9C-4AF7-91E0-64CA69BFC99F}">
      <dsp:nvSpPr>
        <dsp:cNvPr id="0" name=""/>
        <dsp:cNvSpPr/>
      </dsp:nvSpPr>
      <dsp:spPr>
        <a:xfrm>
          <a:off x="1399050" y="1021"/>
          <a:ext cx="2534752" cy="81057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>
              <a:latin typeface="Calibri" pitchFamily="34" charset="0"/>
            </a:rPr>
            <a:t>Process defragmentation</a:t>
          </a:r>
          <a:endParaRPr lang="en-US" sz="2100" kern="1200" noProof="0"/>
        </a:p>
      </dsp:txBody>
      <dsp:txXfrm>
        <a:off x="1438619" y="40590"/>
        <a:ext cx="2455614" cy="731440"/>
      </dsp:txXfrm>
    </dsp:sp>
    <dsp:sp modelId="{D6E33E55-7CBC-4829-AC86-6026E66B94C0}">
      <dsp:nvSpPr>
        <dsp:cNvPr id="0" name=""/>
        <dsp:cNvSpPr/>
      </dsp:nvSpPr>
      <dsp:spPr>
        <a:xfrm>
          <a:off x="3933802" y="892658"/>
          <a:ext cx="1004027" cy="81057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CCEF63-634C-4D78-AC8C-3F4D429FDC05}">
      <dsp:nvSpPr>
        <dsp:cNvPr id="0" name=""/>
        <dsp:cNvSpPr/>
      </dsp:nvSpPr>
      <dsp:spPr>
        <a:xfrm>
          <a:off x="1399050" y="892658"/>
          <a:ext cx="2534752" cy="81057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>
              <a:latin typeface="Calibri" pitchFamily="34" charset="0"/>
            </a:rPr>
            <a:t>Team silos</a:t>
          </a:r>
        </a:p>
      </dsp:txBody>
      <dsp:txXfrm>
        <a:off x="1438619" y="932227"/>
        <a:ext cx="2455614" cy="731440"/>
      </dsp:txXfrm>
    </dsp:sp>
    <dsp:sp modelId="{88B7029B-AE09-47A0-8EDC-1BF164FBAB1B}">
      <dsp:nvSpPr>
        <dsp:cNvPr id="0" name=""/>
        <dsp:cNvSpPr/>
      </dsp:nvSpPr>
      <dsp:spPr>
        <a:xfrm>
          <a:off x="3933802" y="1784295"/>
          <a:ext cx="1004027" cy="810578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AD3F7E-70F2-42DF-9148-394CBC172CD2}">
      <dsp:nvSpPr>
        <dsp:cNvPr id="0" name=""/>
        <dsp:cNvSpPr/>
      </dsp:nvSpPr>
      <dsp:spPr>
        <a:xfrm>
          <a:off x="1399050" y="1784295"/>
          <a:ext cx="2534752" cy="81057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latin typeface="Calibri" pitchFamily="34" charset="0"/>
            </a:rPr>
            <a:t>Validation at the last deliverable stage</a:t>
          </a:r>
        </a:p>
      </dsp:txBody>
      <dsp:txXfrm>
        <a:off x="1438619" y="1823864"/>
        <a:ext cx="2455614" cy="731440"/>
      </dsp:txXfrm>
    </dsp:sp>
    <dsp:sp modelId="{D83CAC71-BA4B-478D-842E-BF9523242B74}">
      <dsp:nvSpPr>
        <dsp:cNvPr id="0" name=""/>
        <dsp:cNvSpPr/>
      </dsp:nvSpPr>
      <dsp:spPr>
        <a:xfrm>
          <a:off x="3933802" y="2675932"/>
          <a:ext cx="1004027" cy="810578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6B193F-A5FA-415D-B67A-374661462EFC}">
      <dsp:nvSpPr>
        <dsp:cNvPr id="0" name=""/>
        <dsp:cNvSpPr/>
      </dsp:nvSpPr>
      <dsp:spPr>
        <a:xfrm>
          <a:off x="1399050" y="2675932"/>
          <a:ext cx="2534752" cy="81057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latin typeface="Calibri" pitchFamily="34" charset="0"/>
            </a:rPr>
            <a:t>Tools oriented approach</a:t>
          </a:r>
        </a:p>
      </dsp:txBody>
      <dsp:txXfrm>
        <a:off x="1438619" y="2715501"/>
        <a:ext cx="2455614" cy="731440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85D04-05C0-4429-B632-3DD9AC29A07F}">
      <dsp:nvSpPr>
        <dsp:cNvPr id="0" name=""/>
        <dsp:cNvSpPr/>
      </dsp:nvSpPr>
      <dsp:spPr>
        <a:xfrm>
          <a:off x="7318248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886"/>
              </a:lnTo>
              <a:lnTo>
                <a:pt x="674913" y="218886"/>
              </a:lnTo>
              <a:lnTo>
                <a:pt x="674913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0AFC0F-0B2C-4678-8A19-D830491D7442}">
      <dsp:nvSpPr>
        <dsp:cNvPr id="0" name=""/>
        <dsp:cNvSpPr/>
      </dsp:nvSpPr>
      <dsp:spPr>
        <a:xfrm>
          <a:off x="6643335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674913" y="0"/>
              </a:moveTo>
              <a:lnTo>
                <a:pt x="674913" y="218886"/>
              </a:lnTo>
              <a:lnTo>
                <a:pt x="0" y="218886"/>
              </a:lnTo>
              <a:lnTo>
                <a:pt x="0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253ED5-7D53-4E68-9FEB-506CD0463A01}">
      <dsp:nvSpPr>
        <dsp:cNvPr id="0" name=""/>
        <dsp:cNvSpPr/>
      </dsp:nvSpPr>
      <dsp:spPr>
        <a:xfrm>
          <a:off x="4618594" y="1725383"/>
          <a:ext cx="2699654" cy="32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886"/>
              </a:lnTo>
              <a:lnTo>
                <a:pt x="2699654" y="218886"/>
              </a:lnTo>
              <a:lnTo>
                <a:pt x="2699654" y="321197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AE5039-0861-4B08-9549-A4BAF65A120F}">
      <dsp:nvSpPr>
        <dsp:cNvPr id="0" name=""/>
        <dsp:cNvSpPr/>
      </dsp:nvSpPr>
      <dsp:spPr>
        <a:xfrm>
          <a:off x="4618594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886"/>
              </a:lnTo>
              <a:lnTo>
                <a:pt x="674913" y="218886"/>
              </a:lnTo>
              <a:lnTo>
                <a:pt x="674913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D6A4BB-9FD2-4447-8935-FD083951E048}">
      <dsp:nvSpPr>
        <dsp:cNvPr id="0" name=""/>
        <dsp:cNvSpPr/>
      </dsp:nvSpPr>
      <dsp:spPr>
        <a:xfrm>
          <a:off x="3943680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674913" y="0"/>
              </a:moveTo>
              <a:lnTo>
                <a:pt x="674913" y="218886"/>
              </a:lnTo>
              <a:lnTo>
                <a:pt x="0" y="218886"/>
              </a:lnTo>
              <a:lnTo>
                <a:pt x="0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C1CE01-35EB-4272-82E9-FE559A55921E}">
      <dsp:nvSpPr>
        <dsp:cNvPr id="0" name=""/>
        <dsp:cNvSpPr/>
      </dsp:nvSpPr>
      <dsp:spPr>
        <a:xfrm>
          <a:off x="4572874" y="1725383"/>
          <a:ext cx="91440" cy="3211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97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1E1F50-38BD-415E-9305-68E155E01816}">
      <dsp:nvSpPr>
        <dsp:cNvPr id="0" name=""/>
        <dsp:cNvSpPr/>
      </dsp:nvSpPr>
      <dsp:spPr>
        <a:xfrm>
          <a:off x="1918939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886"/>
              </a:lnTo>
              <a:lnTo>
                <a:pt x="674913" y="218886"/>
              </a:lnTo>
              <a:lnTo>
                <a:pt x="674913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0A3038-0BB9-4B24-A205-773C56E0D3A4}">
      <dsp:nvSpPr>
        <dsp:cNvPr id="0" name=""/>
        <dsp:cNvSpPr/>
      </dsp:nvSpPr>
      <dsp:spPr>
        <a:xfrm>
          <a:off x="1244025" y="2747877"/>
          <a:ext cx="674913" cy="321197"/>
        </a:xfrm>
        <a:custGeom>
          <a:avLst/>
          <a:gdLst/>
          <a:ahLst/>
          <a:cxnLst/>
          <a:rect l="0" t="0" r="0" b="0"/>
          <a:pathLst>
            <a:path>
              <a:moveTo>
                <a:pt x="674913" y="0"/>
              </a:moveTo>
              <a:lnTo>
                <a:pt x="674913" y="218886"/>
              </a:lnTo>
              <a:lnTo>
                <a:pt x="0" y="218886"/>
              </a:lnTo>
              <a:lnTo>
                <a:pt x="0" y="32119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B4F358-D500-4455-975F-2940C628039A}">
      <dsp:nvSpPr>
        <dsp:cNvPr id="0" name=""/>
        <dsp:cNvSpPr/>
      </dsp:nvSpPr>
      <dsp:spPr>
        <a:xfrm>
          <a:off x="1918939" y="1725383"/>
          <a:ext cx="2699654" cy="321197"/>
        </a:xfrm>
        <a:custGeom>
          <a:avLst/>
          <a:gdLst/>
          <a:ahLst/>
          <a:cxnLst/>
          <a:rect l="0" t="0" r="0" b="0"/>
          <a:pathLst>
            <a:path>
              <a:moveTo>
                <a:pt x="2699654" y="0"/>
              </a:moveTo>
              <a:lnTo>
                <a:pt x="2699654" y="218886"/>
              </a:lnTo>
              <a:lnTo>
                <a:pt x="0" y="218886"/>
              </a:lnTo>
              <a:lnTo>
                <a:pt x="0" y="321197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09AB82-639E-478E-89A0-82A5B3CA1184}">
      <dsp:nvSpPr>
        <dsp:cNvPr id="0" name=""/>
        <dsp:cNvSpPr/>
      </dsp:nvSpPr>
      <dsp:spPr>
        <a:xfrm>
          <a:off x="4572874" y="702888"/>
          <a:ext cx="91440" cy="3211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97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94C638-A94D-4EA9-A4DC-F4A993EC2113}">
      <dsp:nvSpPr>
        <dsp:cNvPr id="0" name=""/>
        <dsp:cNvSpPr/>
      </dsp:nvSpPr>
      <dsp:spPr>
        <a:xfrm>
          <a:off x="4066392" y="1592"/>
          <a:ext cx="1104404" cy="70129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8A072A-B843-4B0D-A4B1-A1EBF21B0DAC}">
      <dsp:nvSpPr>
        <dsp:cNvPr id="0" name=""/>
        <dsp:cNvSpPr/>
      </dsp:nvSpPr>
      <dsp:spPr>
        <a:xfrm>
          <a:off x="4189103" y="118168"/>
          <a:ext cx="1104404" cy="701296"/>
        </a:xfrm>
        <a:prstGeom prst="roundRect">
          <a:avLst>
            <a:gd name="adj" fmla="val 10000"/>
          </a:avLst>
        </a:prstGeom>
        <a:solidFill>
          <a:schemeClr val="accent1">
            <a:alpha val="9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</a:rPr>
            <a:t>Define the scope of security assurance</a:t>
          </a:r>
        </a:p>
      </dsp:txBody>
      <dsp:txXfrm>
        <a:off x="4209643" y="138708"/>
        <a:ext cx="1063324" cy="660216"/>
      </dsp:txXfrm>
    </dsp:sp>
    <dsp:sp modelId="{E2AEE666-F95A-4A29-B12A-BAF815D92A36}">
      <dsp:nvSpPr>
        <dsp:cNvPr id="0" name=""/>
        <dsp:cNvSpPr/>
      </dsp:nvSpPr>
      <dsp:spPr>
        <a:xfrm>
          <a:off x="4066392" y="1024086"/>
          <a:ext cx="1104404" cy="70129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4C41CC-6A70-4173-AE1D-9D24EC8BA5AF}">
      <dsp:nvSpPr>
        <dsp:cNvPr id="0" name=""/>
        <dsp:cNvSpPr/>
      </dsp:nvSpPr>
      <dsp:spPr>
        <a:xfrm>
          <a:off x="4189103" y="1140662"/>
          <a:ext cx="1104404" cy="701296"/>
        </a:xfrm>
        <a:prstGeom prst="roundRect">
          <a:avLst>
            <a:gd name="adj" fmla="val 10000"/>
          </a:avLst>
        </a:prstGeom>
        <a:solidFill>
          <a:schemeClr val="accent4">
            <a:alpha val="9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</a:rPr>
            <a:t>Derive user stories</a:t>
          </a:r>
        </a:p>
      </dsp:txBody>
      <dsp:txXfrm>
        <a:off x="4209643" y="1161202"/>
        <a:ext cx="1063324" cy="660216"/>
      </dsp:txXfrm>
    </dsp:sp>
    <dsp:sp modelId="{B028FDF7-7F31-4B34-BB08-1781BFCF335B}">
      <dsp:nvSpPr>
        <dsp:cNvPr id="0" name=""/>
        <dsp:cNvSpPr/>
      </dsp:nvSpPr>
      <dsp:spPr>
        <a:xfrm>
          <a:off x="1366737" y="2046580"/>
          <a:ext cx="1104404" cy="70129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18F7C2-D1D0-4631-9BEE-C826CFE36A75}">
      <dsp:nvSpPr>
        <dsp:cNvPr id="0" name=""/>
        <dsp:cNvSpPr/>
      </dsp:nvSpPr>
      <dsp:spPr>
        <a:xfrm>
          <a:off x="1489448" y="2163156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 dirty="0"/>
            <a:t>Static code analysis</a:t>
          </a:r>
        </a:p>
      </dsp:txBody>
      <dsp:txXfrm>
        <a:off x="1509988" y="2183696"/>
        <a:ext cx="1063324" cy="660216"/>
      </dsp:txXfrm>
    </dsp:sp>
    <dsp:sp modelId="{96D93BE9-09D3-4E2D-B1C0-688769B3C71A}">
      <dsp:nvSpPr>
        <dsp:cNvPr id="0" name=""/>
        <dsp:cNvSpPr/>
      </dsp:nvSpPr>
      <dsp:spPr>
        <a:xfrm>
          <a:off x="691823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5EEE40-5015-46A4-9AED-8CB371F5DBAB}">
      <dsp:nvSpPr>
        <dsp:cNvPr id="0" name=""/>
        <dsp:cNvSpPr/>
      </dsp:nvSpPr>
      <dsp:spPr>
        <a:xfrm>
          <a:off x="814535" y="3185651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 dirty="0"/>
            <a:t>Code security</a:t>
          </a:r>
          <a:r>
            <a:rPr lang="pl-PL" sz="1000" kern="1200" noProof="0" dirty="0"/>
            <a:t> * </a:t>
          </a:r>
          <a:endParaRPr lang="en-US" sz="1000" kern="1200" noProof="0" dirty="0"/>
        </a:p>
      </dsp:txBody>
      <dsp:txXfrm>
        <a:off x="835075" y="3206191"/>
        <a:ext cx="1063324" cy="660216"/>
      </dsp:txXfrm>
    </dsp:sp>
    <dsp:sp modelId="{DC8106A7-64DA-43D9-9CE2-E9E712050D3D}">
      <dsp:nvSpPr>
        <dsp:cNvPr id="0" name=""/>
        <dsp:cNvSpPr/>
      </dsp:nvSpPr>
      <dsp:spPr>
        <a:xfrm>
          <a:off x="2041651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ADC6C2-8297-4309-A53F-925800B04856}">
      <dsp:nvSpPr>
        <dsp:cNvPr id="0" name=""/>
        <dsp:cNvSpPr/>
      </dsp:nvSpPr>
      <dsp:spPr>
        <a:xfrm>
          <a:off x="2164362" y="3185651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 dirty="0"/>
            <a:t>Vulnerable library detection</a:t>
          </a:r>
          <a:r>
            <a:rPr lang="pl-PL" sz="1000" kern="1200" noProof="0" dirty="0"/>
            <a:t> * </a:t>
          </a:r>
          <a:endParaRPr lang="en-US" sz="1000" kern="1200" noProof="0" dirty="0"/>
        </a:p>
      </dsp:txBody>
      <dsp:txXfrm>
        <a:off x="2184902" y="3206191"/>
        <a:ext cx="1063324" cy="660216"/>
      </dsp:txXfrm>
    </dsp:sp>
    <dsp:sp modelId="{72A2DA87-AA2E-4FA7-8D5B-A485E6086A4D}">
      <dsp:nvSpPr>
        <dsp:cNvPr id="0" name=""/>
        <dsp:cNvSpPr/>
      </dsp:nvSpPr>
      <dsp:spPr>
        <a:xfrm>
          <a:off x="4066392" y="2046580"/>
          <a:ext cx="1104404" cy="70129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2ED48F-E869-4818-85FC-8158915D32D3}">
      <dsp:nvSpPr>
        <dsp:cNvPr id="0" name=""/>
        <dsp:cNvSpPr/>
      </dsp:nvSpPr>
      <dsp:spPr>
        <a:xfrm>
          <a:off x="4189103" y="2163156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/>
            <a:t>Dynamic code analysis</a:t>
          </a:r>
        </a:p>
      </dsp:txBody>
      <dsp:txXfrm>
        <a:off x="4209643" y="2183696"/>
        <a:ext cx="1063324" cy="660216"/>
      </dsp:txXfrm>
    </dsp:sp>
    <dsp:sp modelId="{D30FD48E-44C0-4DD4-94AF-220A94DEBBEC}">
      <dsp:nvSpPr>
        <dsp:cNvPr id="0" name=""/>
        <dsp:cNvSpPr/>
      </dsp:nvSpPr>
      <dsp:spPr>
        <a:xfrm>
          <a:off x="3391478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A53BE4-3BE0-4B9D-BB8B-D7C034FE3534}">
      <dsp:nvSpPr>
        <dsp:cNvPr id="0" name=""/>
        <dsp:cNvSpPr/>
      </dsp:nvSpPr>
      <dsp:spPr>
        <a:xfrm>
          <a:off x="3514189" y="3185651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 dirty="0"/>
            <a:t>Proxy active scan</a:t>
          </a:r>
          <a:r>
            <a:rPr lang="pl-PL" sz="1000" kern="1200" noProof="0" dirty="0"/>
            <a:t> * </a:t>
          </a:r>
          <a:endParaRPr lang="en-US" sz="1000" kern="1200" noProof="0" dirty="0"/>
        </a:p>
      </dsp:txBody>
      <dsp:txXfrm>
        <a:off x="3534729" y="3206191"/>
        <a:ext cx="1063324" cy="660216"/>
      </dsp:txXfrm>
    </dsp:sp>
    <dsp:sp modelId="{78DBE2F4-7D5E-4337-ABAF-6078BA57C4B6}">
      <dsp:nvSpPr>
        <dsp:cNvPr id="0" name=""/>
        <dsp:cNvSpPr/>
      </dsp:nvSpPr>
      <dsp:spPr>
        <a:xfrm>
          <a:off x="4741305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D9B6DA-0022-4234-866C-436D8680FE37}">
      <dsp:nvSpPr>
        <dsp:cNvPr id="0" name=""/>
        <dsp:cNvSpPr/>
      </dsp:nvSpPr>
      <dsp:spPr>
        <a:xfrm>
          <a:off x="4864017" y="3185651"/>
          <a:ext cx="1104404" cy="7012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noProof="0" dirty="0"/>
            <a:t>TLS configuration scan</a:t>
          </a:r>
          <a:r>
            <a:rPr lang="pl-PL" sz="1000" kern="1200" noProof="0" dirty="0"/>
            <a:t> * </a:t>
          </a:r>
          <a:endParaRPr lang="en-US" sz="1000" kern="1200" noProof="0" dirty="0"/>
        </a:p>
      </dsp:txBody>
      <dsp:txXfrm>
        <a:off x="4884557" y="3206191"/>
        <a:ext cx="1063324" cy="660216"/>
      </dsp:txXfrm>
    </dsp:sp>
    <dsp:sp modelId="{CA44ED2C-D532-4954-9FA2-7BDEE6C728B3}">
      <dsp:nvSpPr>
        <dsp:cNvPr id="0" name=""/>
        <dsp:cNvSpPr/>
      </dsp:nvSpPr>
      <dsp:spPr>
        <a:xfrm>
          <a:off x="6766046" y="2046580"/>
          <a:ext cx="1104404" cy="70129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EE98AF-5D0E-47CB-9C19-8584C91705B8}">
      <dsp:nvSpPr>
        <dsp:cNvPr id="0" name=""/>
        <dsp:cNvSpPr/>
      </dsp:nvSpPr>
      <dsp:spPr>
        <a:xfrm>
          <a:off x="6888758" y="2163156"/>
          <a:ext cx="1104404" cy="701296"/>
        </a:xfrm>
        <a:prstGeom prst="roundRect">
          <a:avLst>
            <a:gd name="adj" fmla="val 10000"/>
          </a:avLst>
        </a:prstGeom>
        <a:solidFill>
          <a:schemeClr val="accent5">
            <a:alpha val="9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</a:rPr>
            <a:t>Custom unit tests</a:t>
          </a:r>
        </a:p>
      </dsp:txBody>
      <dsp:txXfrm>
        <a:off x="6909298" y="2183696"/>
        <a:ext cx="1063324" cy="660216"/>
      </dsp:txXfrm>
    </dsp:sp>
    <dsp:sp modelId="{A4BC8FA0-3C60-4706-B2A0-EE5322D82702}">
      <dsp:nvSpPr>
        <dsp:cNvPr id="0" name=""/>
        <dsp:cNvSpPr/>
      </dsp:nvSpPr>
      <dsp:spPr>
        <a:xfrm>
          <a:off x="6091133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2F653C-7EFA-4E77-A755-ECF1D1942572}">
      <dsp:nvSpPr>
        <dsp:cNvPr id="0" name=""/>
        <dsp:cNvSpPr/>
      </dsp:nvSpPr>
      <dsp:spPr>
        <a:xfrm>
          <a:off x="6213844" y="3185651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alpha val="9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</a:rPr>
            <a:t>BDD Security</a:t>
          </a:r>
        </a:p>
      </dsp:txBody>
      <dsp:txXfrm>
        <a:off x="6234384" y="3206191"/>
        <a:ext cx="1063324" cy="660216"/>
      </dsp:txXfrm>
    </dsp:sp>
    <dsp:sp modelId="{4E860631-5092-47E0-8A8D-9CE8F2C52AF8}">
      <dsp:nvSpPr>
        <dsp:cNvPr id="0" name=""/>
        <dsp:cNvSpPr/>
      </dsp:nvSpPr>
      <dsp:spPr>
        <a:xfrm>
          <a:off x="7440960" y="3069075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5350C1-FE14-46E3-9FE5-A6982FECA21B}">
      <dsp:nvSpPr>
        <dsp:cNvPr id="0" name=""/>
        <dsp:cNvSpPr/>
      </dsp:nvSpPr>
      <dsp:spPr>
        <a:xfrm>
          <a:off x="7563672" y="3185651"/>
          <a:ext cx="1104404" cy="701296"/>
        </a:xfrm>
        <a:prstGeom prst="roundRect">
          <a:avLst>
            <a:gd name="adj" fmla="val 10000"/>
          </a:avLst>
        </a:prstGeom>
        <a:solidFill>
          <a:schemeClr val="accent6">
            <a:alpha val="9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 dirty="0">
              <a:solidFill>
                <a:schemeClr val="bg1"/>
              </a:solidFill>
            </a:rPr>
            <a:t>Other</a:t>
          </a:r>
        </a:p>
      </dsp:txBody>
      <dsp:txXfrm>
        <a:off x="7584212" y="3206191"/>
        <a:ext cx="1063324" cy="660216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116992" y="-783865"/>
          <a:ext cx="6093694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384027-88DA-4DF0-9EA4-B824ACD9ED31}">
      <dsp:nvSpPr>
        <dsp:cNvPr id="0" name=""/>
        <dsp:cNvSpPr/>
      </dsp:nvSpPr>
      <dsp:spPr>
        <a:xfrm>
          <a:off x="364315" y="238337"/>
          <a:ext cx="8488601" cy="4764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Used against SQL database with JPA interface and Java</a:t>
          </a:r>
          <a:endParaRPr lang="en-US" sz="2400" kern="1200" noProof="0"/>
        </a:p>
      </dsp:txBody>
      <dsp:txXfrm>
        <a:off x="364315" y="238337"/>
        <a:ext cx="8488601" cy="476493"/>
      </dsp:txXfrm>
    </dsp:sp>
    <dsp:sp modelId="{027132D5-AC2F-40F3-B0B9-276DCBF2C436}">
      <dsp:nvSpPr>
        <dsp:cNvPr id="0" name=""/>
        <dsp:cNvSpPr/>
      </dsp:nvSpPr>
      <dsp:spPr>
        <a:xfrm>
          <a:off x="66507" y="178775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602AF2-825D-41AA-ACAD-76BDD9CFA39E}">
      <dsp:nvSpPr>
        <dsp:cNvPr id="0" name=""/>
        <dsp:cNvSpPr/>
      </dsp:nvSpPr>
      <dsp:spPr>
        <a:xfrm>
          <a:off x="756263" y="952986"/>
          <a:ext cx="8096653" cy="47649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noProof="0" dirty="0"/>
            <a:t>Multiple database connection support</a:t>
          </a:r>
        </a:p>
      </dsp:txBody>
      <dsp:txXfrm>
        <a:off x="756263" y="952986"/>
        <a:ext cx="8096653" cy="476493"/>
      </dsp:txXfrm>
    </dsp:sp>
    <dsp:sp modelId="{ABFA75C7-8FF1-4362-A9E8-D577D12DB683}">
      <dsp:nvSpPr>
        <dsp:cNvPr id="0" name=""/>
        <dsp:cNvSpPr/>
      </dsp:nvSpPr>
      <dsp:spPr>
        <a:xfrm>
          <a:off x="458455" y="893425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C77B1D-2C7E-4E44-BB9F-5CEEABF4A135}">
      <dsp:nvSpPr>
        <dsp:cNvPr id="0" name=""/>
        <dsp:cNvSpPr/>
      </dsp:nvSpPr>
      <dsp:spPr>
        <a:xfrm>
          <a:off x="935492" y="1667636"/>
          <a:ext cx="7917425" cy="47649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Object Relational Mapping</a:t>
          </a:r>
        </a:p>
      </dsp:txBody>
      <dsp:txXfrm>
        <a:off x="935492" y="1667636"/>
        <a:ext cx="7917425" cy="476493"/>
      </dsp:txXfrm>
    </dsp:sp>
    <dsp:sp modelId="{855F703F-77AE-4EF7-B60D-3EB70FF2A17C}">
      <dsp:nvSpPr>
        <dsp:cNvPr id="0" name=""/>
        <dsp:cNvSpPr/>
      </dsp:nvSpPr>
      <dsp:spPr>
        <a:xfrm>
          <a:off x="637683" y="1608074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FE4212-15EB-46A7-8D0B-77D4878A03CD}">
      <dsp:nvSpPr>
        <dsp:cNvPr id="0" name=""/>
        <dsp:cNvSpPr/>
      </dsp:nvSpPr>
      <dsp:spPr>
        <a:xfrm>
          <a:off x="935492" y="2381833"/>
          <a:ext cx="7917425" cy="4764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Easy to enhance into noSQL databases </a:t>
          </a:r>
        </a:p>
      </dsp:txBody>
      <dsp:txXfrm>
        <a:off x="935492" y="2381833"/>
        <a:ext cx="7917425" cy="476493"/>
      </dsp:txXfrm>
    </dsp:sp>
    <dsp:sp modelId="{5CE55458-47F0-4A63-A1E7-EF4B89477ACC}">
      <dsp:nvSpPr>
        <dsp:cNvPr id="0" name=""/>
        <dsp:cNvSpPr/>
      </dsp:nvSpPr>
      <dsp:spPr>
        <a:xfrm>
          <a:off x="637683" y="2322271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D1BD61-7CCA-47D7-831E-C01D8C751EFC}">
      <dsp:nvSpPr>
        <dsp:cNvPr id="0" name=""/>
        <dsp:cNvSpPr/>
      </dsp:nvSpPr>
      <dsp:spPr>
        <a:xfrm>
          <a:off x="756263" y="3096482"/>
          <a:ext cx="8096653" cy="47649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/>
            <a:t>CSVs and flat files structure and data validation</a:t>
          </a:r>
        </a:p>
      </dsp:txBody>
      <dsp:txXfrm>
        <a:off x="756263" y="3096482"/>
        <a:ext cx="8096653" cy="476493"/>
      </dsp:txXfrm>
    </dsp:sp>
    <dsp:sp modelId="{1D5F703A-E11D-40BD-B3F8-9672C8E068CC}">
      <dsp:nvSpPr>
        <dsp:cNvPr id="0" name=""/>
        <dsp:cNvSpPr/>
      </dsp:nvSpPr>
      <dsp:spPr>
        <a:xfrm>
          <a:off x="458455" y="3036921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156148-A913-461E-A185-0E590F7B3062}">
      <dsp:nvSpPr>
        <dsp:cNvPr id="0" name=""/>
        <dsp:cNvSpPr/>
      </dsp:nvSpPr>
      <dsp:spPr>
        <a:xfrm>
          <a:off x="364315" y="3811132"/>
          <a:ext cx="8488601" cy="4764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8217" tIns="60960" rIns="60960" bIns="6096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noProof="0" dirty="0"/>
            <a:t>Main CRUD commands implemented with data type control</a:t>
          </a:r>
        </a:p>
      </dsp:txBody>
      <dsp:txXfrm>
        <a:off x="364315" y="3811132"/>
        <a:ext cx="8488601" cy="476493"/>
      </dsp:txXfrm>
    </dsp:sp>
    <dsp:sp modelId="{86E79B6D-E152-4CCA-AA1F-5F6069AB21D3}">
      <dsp:nvSpPr>
        <dsp:cNvPr id="0" name=""/>
        <dsp:cNvSpPr/>
      </dsp:nvSpPr>
      <dsp:spPr>
        <a:xfrm>
          <a:off x="66507" y="3751570"/>
          <a:ext cx="595616" cy="5956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116967" y="-783865"/>
          <a:ext cx="6093694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384027-88DA-4DF0-9EA4-B824ACD9ED31}">
      <dsp:nvSpPr>
        <dsp:cNvPr id="0" name=""/>
        <dsp:cNvSpPr/>
      </dsp:nvSpPr>
      <dsp:spPr>
        <a:xfrm>
          <a:off x="628203" y="452596"/>
          <a:ext cx="8224738" cy="90519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8497" tIns="71120" rIns="71120" bIns="7112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 noProof="0"/>
            <a:t>Native mobile app tests for Android and iOS with Appium library and Java</a:t>
          </a:r>
          <a:endParaRPr lang="en-US" sz="2800" kern="1200" noProof="0"/>
        </a:p>
      </dsp:txBody>
      <dsp:txXfrm>
        <a:off x="628203" y="452596"/>
        <a:ext cx="8224738" cy="905192"/>
      </dsp:txXfrm>
    </dsp:sp>
    <dsp:sp modelId="{027132D5-AC2F-40F3-B0B9-276DCBF2C436}">
      <dsp:nvSpPr>
        <dsp:cNvPr id="0" name=""/>
        <dsp:cNvSpPr/>
      </dsp:nvSpPr>
      <dsp:spPr>
        <a:xfrm>
          <a:off x="62458" y="339447"/>
          <a:ext cx="1131490" cy="113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D2D356-75B9-4F71-9A09-1360274E0708}">
      <dsp:nvSpPr>
        <dsp:cNvPr id="0" name=""/>
        <dsp:cNvSpPr/>
      </dsp:nvSpPr>
      <dsp:spPr>
        <a:xfrm>
          <a:off x="957241" y="1810385"/>
          <a:ext cx="7895700" cy="90519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8497" tIns="71120" rIns="71120" bIns="7112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/>
            <a:t>One business test logic for all platforms</a:t>
          </a:r>
        </a:p>
      </dsp:txBody>
      <dsp:txXfrm>
        <a:off x="957241" y="1810385"/>
        <a:ext cx="7895700" cy="905192"/>
      </dsp:txXfrm>
    </dsp:sp>
    <dsp:sp modelId="{876AAFB9-EF87-4539-844B-B2D7225647F2}">
      <dsp:nvSpPr>
        <dsp:cNvPr id="0" name=""/>
        <dsp:cNvSpPr/>
      </dsp:nvSpPr>
      <dsp:spPr>
        <a:xfrm>
          <a:off x="391495" y="1697236"/>
          <a:ext cx="1131490" cy="113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1D5E6F-59BB-4E2E-8142-3270C9A5A2FC}">
      <dsp:nvSpPr>
        <dsp:cNvPr id="0" name=""/>
        <dsp:cNvSpPr/>
      </dsp:nvSpPr>
      <dsp:spPr>
        <a:xfrm>
          <a:off x="628203" y="3168174"/>
          <a:ext cx="8224738" cy="90519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8497" tIns="71120" rIns="71120" bIns="7112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kern="1200" noProof="0"/>
            <a:t>Page Object Model architecture</a:t>
          </a:r>
        </a:p>
      </dsp:txBody>
      <dsp:txXfrm>
        <a:off x="628203" y="3168174"/>
        <a:ext cx="8224738" cy="905192"/>
      </dsp:txXfrm>
    </dsp:sp>
    <dsp:sp modelId="{6F18A62C-4246-41F1-8CB4-4C11073D703E}">
      <dsp:nvSpPr>
        <dsp:cNvPr id="0" name=""/>
        <dsp:cNvSpPr/>
      </dsp:nvSpPr>
      <dsp:spPr>
        <a:xfrm>
          <a:off x="62458" y="3055025"/>
          <a:ext cx="1131490" cy="113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640362" y="-863431"/>
          <a:ext cx="6715420" cy="6715420"/>
        </a:xfrm>
        <a:prstGeom prst="blockArc">
          <a:avLst>
            <a:gd name="adj1" fmla="val 18900000"/>
            <a:gd name="adj2" fmla="val 2700000"/>
            <a:gd name="adj3" fmla="val 322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2BAD60-1173-4F05-AA2D-A6CC7480963C}">
      <dsp:nvSpPr>
        <dsp:cNvPr id="0" name=""/>
        <dsp:cNvSpPr/>
      </dsp:nvSpPr>
      <dsp:spPr>
        <a:xfrm>
          <a:off x="400631" y="262697"/>
          <a:ext cx="5872404" cy="52519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noProof="0"/>
            <a:t>Easy install</a:t>
          </a:r>
          <a:endParaRPr lang="en-US" sz="1600" kern="1200" noProof="0"/>
        </a:p>
      </dsp:txBody>
      <dsp:txXfrm>
        <a:off x="400631" y="262697"/>
        <a:ext cx="5872404" cy="525195"/>
      </dsp:txXfrm>
    </dsp:sp>
    <dsp:sp modelId="{876AAFB9-EF87-4539-844B-B2D7225647F2}">
      <dsp:nvSpPr>
        <dsp:cNvPr id="0" name=""/>
        <dsp:cNvSpPr/>
      </dsp:nvSpPr>
      <dsp:spPr>
        <a:xfrm>
          <a:off x="72384" y="197048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5F2520-3AE5-48FE-83A2-B7A2DC9DE4F7}">
      <dsp:nvSpPr>
        <dsp:cNvPr id="0" name=""/>
        <dsp:cNvSpPr/>
      </dsp:nvSpPr>
      <dsp:spPr>
        <a:xfrm>
          <a:off x="832640" y="1050390"/>
          <a:ext cx="5440395" cy="52519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noProof="0"/>
            <a:t>Build in auto-scaling functionality</a:t>
          </a:r>
          <a:endParaRPr lang="en-US" sz="1600" kern="1200" noProof="0"/>
        </a:p>
      </dsp:txBody>
      <dsp:txXfrm>
        <a:off x="832640" y="1050390"/>
        <a:ext cx="5440395" cy="525195"/>
      </dsp:txXfrm>
    </dsp:sp>
    <dsp:sp modelId="{59FBA889-EC7D-49F7-81C3-DD02DF163D89}">
      <dsp:nvSpPr>
        <dsp:cNvPr id="0" name=""/>
        <dsp:cNvSpPr/>
      </dsp:nvSpPr>
      <dsp:spPr>
        <a:xfrm>
          <a:off x="504393" y="984741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9C7A50-ED65-4DE6-8470-826950675538}">
      <dsp:nvSpPr>
        <dsp:cNvPr id="0" name=""/>
        <dsp:cNvSpPr/>
      </dsp:nvSpPr>
      <dsp:spPr>
        <a:xfrm>
          <a:off x="1030187" y="1838083"/>
          <a:ext cx="5242848" cy="52519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noProof="0"/>
            <a:t>Transparent to on-premise or cloud provider</a:t>
          </a:r>
        </a:p>
      </dsp:txBody>
      <dsp:txXfrm>
        <a:off x="1030187" y="1838083"/>
        <a:ext cx="5242848" cy="525195"/>
      </dsp:txXfrm>
    </dsp:sp>
    <dsp:sp modelId="{D599E7E5-A18A-42A5-B314-741DB9C98AA9}">
      <dsp:nvSpPr>
        <dsp:cNvPr id="0" name=""/>
        <dsp:cNvSpPr/>
      </dsp:nvSpPr>
      <dsp:spPr>
        <a:xfrm>
          <a:off x="701940" y="1772434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8AA374-93C9-4169-97FD-5568BC2B1632}">
      <dsp:nvSpPr>
        <dsp:cNvPr id="0" name=""/>
        <dsp:cNvSpPr/>
      </dsp:nvSpPr>
      <dsp:spPr>
        <a:xfrm>
          <a:off x="1030187" y="2625278"/>
          <a:ext cx="5242848" cy="52519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noProof="0"/>
            <a:t>Android emulator as scalable docker image</a:t>
          </a:r>
        </a:p>
      </dsp:txBody>
      <dsp:txXfrm>
        <a:off x="1030187" y="2625278"/>
        <a:ext cx="5242848" cy="525195"/>
      </dsp:txXfrm>
    </dsp:sp>
    <dsp:sp modelId="{A206F9EC-E999-474B-8457-891B57BE68F9}">
      <dsp:nvSpPr>
        <dsp:cNvPr id="0" name=""/>
        <dsp:cNvSpPr/>
      </dsp:nvSpPr>
      <dsp:spPr>
        <a:xfrm>
          <a:off x="701940" y="2559628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FEAA6C-DB72-45AF-AFC6-8A92C0E48BA9}">
      <dsp:nvSpPr>
        <dsp:cNvPr id="0" name=""/>
        <dsp:cNvSpPr/>
      </dsp:nvSpPr>
      <dsp:spPr>
        <a:xfrm>
          <a:off x="832640" y="3412971"/>
          <a:ext cx="5440395" cy="525195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noProof="0" dirty="0"/>
            <a:t>Plug and play real devices (Android and </a:t>
          </a:r>
          <a:r>
            <a:rPr lang="en-US" sz="1600" b="0" kern="1200" noProof="0" dirty="0" err="1"/>
            <a:t>iOS</a:t>
          </a:r>
          <a:r>
            <a:rPr lang="en-US" sz="1600" b="0" kern="1200" noProof="0" dirty="0"/>
            <a:t>) </a:t>
          </a:r>
        </a:p>
      </dsp:txBody>
      <dsp:txXfrm>
        <a:off x="832640" y="3412971"/>
        <a:ext cx="5440395" cy="525195"/>
      </dsp:txXfrm>
    </dsp:sp>
    <dsp:sp modelId="{68DAF0FC-73DA-45D5-BE76-B3681D455142}">
      <dsp:nvSpPr>
        <dsp:cNvPr id="0" name=""/>
        <dsp:cNvSpPr/>
      </dsp:nvSpPr>
      <dsp:spPr>
        <a:xfrm>
          <a:off x="504393" y="3347321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FF8C33-490B-4C97-A7CE-387A32588968}">
      <dsp:nvSpPr>
        <dsp:cNvPr id="0" name=""/>
        <dsp:cNvSpPr/>
      </dsp:nvSpPr>
      <dsp:spPr>
        <a:xfrm>
          <a:off x="400631" y="4200664"/>
          <a:ext cx="5872404" cy="52519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874" tIns="40640" rIns="40640" bIns="4064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noProof="0" dirty="0"/>
            <a:t>Solution created on top of </a:t>
          </a:r>
          <a:r>
            <a:rPr lang="en-US" sz="1600" b="0" kern="1200" noProof="0" dirty="0" err="1"/>
            <a:t>Docker</a:t>
          </a:r>
          <a:r>
            <a:rPr lang="en-US" sz="1600" b="0" kern="1200" noProof="0" dirty="0"/>
            <a:t> Swarm and </a:t>
          </a:r>
          <a:r>
            <a:rPr lang="en-US" sz="1600" b="0" kern="1200" noProof="0" dirty="0" err="1"/>
            <a:t>Docker</a:t>
          </a:r>
          <a:r>
            <a:rPr lang="en-US" sz="1600" b="0" kern="1200" noProof="0" dirty="0"/>
            <a:t> Selenium images</a:t>
          </a:r>
        </a:p>
      </dsp:txBody>
      <dsp:txXfrm>
        <a:off x="400631" y="4200664"/>
        <a:ext cx="5872404" cy="525195"/>
      </dsp:txXfrm>
    </dsp:sp>
    <dsp:sp modelId="{FF2D00FB-4CE6-46D9-BC8B-27E461766B9A}">
      <dsp:nvSpPr>
        <dsp:cNvPr id="0" name=""/>
        <dsp:cNvSpPr/>
      </dsp:nvSpPr>
      <dsp:spPr>
        <a:xfrm>
          <a:off x="72384" y="4135014"/>
          <a:ext cx="656494" cy="6564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DEE40E-0B66-4B91-8AC9-45EB49F811C8}">
      <dsp:nvSpPr>
        <dsp:cNvPr id="0" name=""/>
        <dsp:cNvSpPr/>
      </dsp:nvSpPr>
      <dsp:spPr>
        <a:xfrm>
          <a:off x="-5078383" y="-783865"/>
          <a:ext cx="6093694" cy="6093694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2BAD60-1173-4F05-AA2D-A6CC7480963C}">
      <dsp:nvSpPr>
        <dsp:cNvPr id="0" name=""/>
        <dsp:cNvSpPr/>
      </dsp:nvSpPr>
      <dsp:spPr>
        <a:xfrm>
          <a:off x="831985" y="646579"/>
          <a:ext cx="8059540" cy="129297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6301" tIns="104140" rIns="104140" bIns="104140" numCol="1" spcCol="1270" anchor="ctr" anchorCtr="0">
          <a:noAutofit/>
        </a:bodyPr>
        <a:lstStyle/>
        <a:p>
          <a:pPr marL="0" lvl="0" indent="0" algn="l" defTabSz="1822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100" b="0" kern="1200" noProof="0"/>
            <a:t>Swing library with Java </a:t>
          </a:r>
          <a:endParaRPr lang="en-US" sz="4100" kern="1200" noProof="0"/>
        </a:p>
      </dsp:txBody>
      <dsp:txXfrm>
        <a:off x="831985" y="646579"/>
        <a:ext cx="8059540" cy="1292977"/>
      </dsp:txXfrm>
    </dsp:sp>
    <dsp:sp modelId="{876AAFB9-EF87-4539-844B-B2D7225647F2}">
      <dsp:nvSpPr>
        <dsp:cNvPr id="0" name=""/>
        <dsp:cNvSpPr/>
      </dsp:nvSpPr>
      <dsp:spPr>
        <a:xfrm>
          <a:off x="23874" y="484956"/>
          <a:ext cx="1616221" cy="16162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5F2520-3AE5-48FE-83A2-B7A2DC9DE4F7}">
      <dsp:nvSpPr>
        <dsp:cNvPr id="0" name=""/>
        <dsp:cNvSpPr/>
      </dsp:nvSpPr>
      <dsp:spPr>
        <a:xfrm>
          <a:off x="831985" y="2586406"/>
          <a:ext cx="8059540" cy="129297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6301" tIns="104140" rIns="104140" bIns="104140" numCol="1" spcCol="1270" anchor="ctr" anchorCtr="0">
          <a:noAutofit/>
        </a:bodyPr>
        <a:lstStyle/>
        <a:p>
          <a:pPr marL="0" lvl="0" indent="0" algn="l" defTabSz="1822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100" b="0" kern="1200" noProof="0" dirty="0"/>
            <a:t>Page Object Model architecture</a:t>
          </a:r>
          <a:endParaRPr lang="en-US" sz="4100" kern="1200" noProof="0" dirty="0"/>
        </a:p>
      </dsp:txBody>
      <dsp:txXfrm>
        <a:off x="831985" y="2586406"/>
        <a:ext cx="8059540" cy="1292977"/>
      </dsp:txXfrm>
    </dsp:sp>
    <dsp:sp modelId="{59FBA889-EC7D-49F7-81C3-DD02DF163D89}">
      <dsp:nvSpPr>
        <dsp:cNvPr id="0" name=""/>
        <dsp:cNvSpPr/>
      </dsp:nvSpPr>
      <dsp:spPr>
        <a:xfrm>
          <a:off x="23874" y="2424784"/>
          <a:ext cx="1616221" cy="16162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794918" y="0"/>
          <a:ext cx="794918" cy="655807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400" kern="1200"/>
          </a:br>
          <a:r>
            <a:rPr lang="en-US" sz="2400" kern="1200"/>
            <a:t>UI</a:t>
          </a:r>
          <a:endParaRPr lang="en-US" sz="2400" kern="1200" dirty="0"/>
        </a:p>
      </dsp:txBody>
      <dsp:txXfrm>
        <a:off x="794918" y="0"/>
        <a:ext cx="794918" cy="655807"/>
      </dsp:txXfrm>
    </dsp:sp>
    <dsp:sp modelId="{3DF1A04F-9824-4FA2-8E9B-69197A34DB02}">
      <dsp:nvSpPr>
        <dsp:cNvPr id="0" name=""/>
        <dsp:cNvSpPr/>
      </dsp:nvSpPr>
      <dsp:spPr>
        <a:xfrm>
          <a:off x="397459" y="655807"/>
          <a:ext cx="1589836" cy="655807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277290"/>
            <a:satOff val="-25946"/>
            <a:lumOff val="18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PI</a:t>
          </a:r>
        </a:p>
      </dsp:txBody>
      <dsp:txXfrm>
        <a:off x="675680" y="655807"/>
        <a:ext cx="1033393" cy="655807"/>
      </dsp:txXfrm>
    </dsp:sp>
    <dsp:sp modelId="{D9074314-C21A-447C-9E4D-59C6F495C412}">
      <dsp:nvSpPr>
        <dsp:cNvPr id="0" name=""/>
        <dsp:cNvSpPr/>
      </dsp:nvSpPr>
      <dsp:spPr>
        <a:xfrm>
          <a:off x="0" y="1311614"/>
          <a:ext cx="2384753" cy="655807"/>
        </a:xfrm>
        <a:prstGeom prst="trapezoid">
          <a:avLst>
            <a:gd name="adj" fmla="val 60606"/>
          </a:avLst>
        </a:prstGeom>
        <a:solidFill>
          <a:schemeClr val="accent5">
            <a:shade val="80000"/>
            <a:hueOff val="554580"/>
            <a:satOff val="-51893"/>
            <a:lumOff val="3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Unit</a:t>
          </a:r>
        </a:p>
      </dsp:txBody>
      <dsp:txXfrm>
        <a:off x="417331" y="1311614"/>
        <a:ext cx="1550090" cy="655807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3B53CC-63F9-486E-B296-6E00E1199ECB}">
      <dsp:nvSpPr>
        <dsp:cNvPr id="0" name=""/>
        <dsp:cNvSpPr/>
      </dsp:nvSpPr>
      <dsp:spPr>
        <a:xfrm rot="16200000">
          <a:off x="359060" y="-359060"/>
          <a:ext cx="966268" cy="1684390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noProof="0" dirty="0"/>
            <a:t>Core functions  </a:t>
          </a:r>
          <a:br>
            <a:rPr lang="en-US" sz="1200" kern="1200" noProof="0" dirty="0"/>
          </a:br>
          <a:r>
            <a:rPr lang="en-US" sz="1200" kern="1200" noProof="0" dirty="0"/>
            <a:t>(Java</a:t>
          </a:r>
          <a:r>
            <a:rPr lang="pl-PL" sz="1200" kern="1200" noProof="0" dirty="0"/>
            <a:t>, </a:t>
          </a:r>
          <a:r>
            <a:rPr lang="en-US" sz="1200" kern="1200" noProof="0" dirty="0"/>
            <a:t>Cucumber)</a:t>
          </a:r>
        </a:p>
      </dsp:txBody>
      <dsp:txXfrm rot="5400000">
        <a:off x="0" y="0"/>
        <a:ext cx="1684390" cy="724701"/>
      </dsp:txXfrm>
    </dsp:sp>
    <dsp:sp modelId="{D0229584-9C34-4778-B8AA-1AA196E63414}">
      <dsp:nvSpPr>
        <dsp:cNvPr id="0" name=""/>
        <dsp:cNvSpPr/>
      </dsp:nvSpPr>
      <dsp:spPr>
        <a:xfrm>
          <a:off x="1684390" y="0"/>
          <a:ext cx="1684390" cy="966268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/>
            <a:t>UI </a:t>
          </a:r>
          <a:r>
            <a:rPr lang="en-US" sz="1200" kern="1200" noProof="0" dirty="0"/>
            <a:t>module</a:t>
          </a:r>
          <a:br>
            <a:rPr lang="en-US" sz="1200" kern="1200" noProof="0" dirty="0"/>
          </a:br>
          <a:r>
            <a:rPr lang="en-US" sz="1200" kern="1200" noProof="0" dirty="0"/>
            <a:t>(Selenium)</a:t>
          </a:r>
        </a:p>
      </dsp:txBody>
      <dsp:txXfrm>
        <a:off x="1684390" y="0"/>
        <a:ext cx="1684390" cy="724701"/>
      </dsp:txXfrm>
    </dsp:sp>
    <dsp:sp modelId="{374D5145-E2A1-4964-AF5F-50EBD090420C}">
      <dsp:nvSpPr>
        <dsp:cNvPr id="0" name=""/>
        <dsp:cNvSpPr/>
      </dsp:nvSpPr>
      <dsp:spPr>
        <a:xfrm rot="10800000">
          <a:off x="0" y="966268"/>
          <a:ext cx="1684390" cy="966268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noProof="0" dirty="0" err="1"/>
            <a:t>WebService</a:t>
          </a:r>
          <a:r>
            <a:rPr lang="en-US" sz="1200" kern="1200" noProof="0" dirty="0"/>
            <a:t> module</a:t>
          </a:r>
          <a:br>
            <a:rPr lang="pl-PL" sz="1200" kern="1200" dirty="0"/>
          </a:br>
          <a:r>
            <a:rPr lang="pl-PL" sz="1200" kern="1200" dirty="0"/>
            <a:t>(REST, SOAP)</a:t>
          </a:r>
          <a:endParaRPr lang="en-US" sz="1200" kern="1200" dirty="0"/>
        </a:p>
      </dsp:txBody>
      <dsp:txXfrm rot="10800000">
        <a:off x="0" y="1207834"/>
        <a:ext cx="1684390" cy="724701"/>
      </dsp:txXfrm>
    </dsp:sp>
    <dsp:sp modelId="{73269400-037F-4E4D-8615-9F6ADD40C530}">
      <dsp:nvSpPr>
        <dsp:cNvPr id="0" name=""/>
        <dsp:cNvSpPr/>
      </dsp:nvSpPr>
      <dsp:spPr>
        <a:xfrm rot="5400000">
          <a:off x="2043451" y="607207"/>
          <a:ext cx="966268" cy="1684390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noProof="0" dirty="0" err="1"/>
            <a:t>DataBase</a:t>
          </a:r>
          <a:r>
            <a:rPr lang="en-US" sz="1200" kern="1200" noProof="0" dirty="0"/>
            <a:t> module</a:t>
          </a:r>
          <a:br>
            <a:rPr lang="en-US" sz="1200" kern="1200" noProof="0" dirty="0"/>
          </a:br>
          <a:r>
            <a:rPr lang="en-US" sz="1200" kern="1200" noProof="0" dirty="0"/>
            <a:t>(Oracle, Cassandra</a:t>
          </a:r>
          <a:r>
            <a:rPr lang="pl-PL" sz="1200" kern="1200" dirty="0"/>
            <a:t>)</a:t>
          </a:r>
          <a:endParaRPr lang="en-US" sz="1200" kern="1200" dirty="0"/>
        </a:p>
      </dsp:txBody>
      <dsp:txXfrm rot="-5400000">
        <a:off x="1684390" y="1207834"/>
        <a:ext cx="1684390" cy="724701"/>
      </dsp:txXfrm>
    </dsp:sp>
    <dsp:sp modelId="{2E174289-C717-4B8B-BD2D-0BA70D09B636}">
      <dsp:nvSpPr>
        <dsp:cNvPr id="0" name=""/>
        <dsp:cNvSpPr/>
      </dsp:nvSpPr>
      <dsp:spPr>
        <a:xfrm>
          <a:off x="1179073" y="724701"/>
          <a:ext cx="1010634" cy="483134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/>
            <a:t>E2E test in </a:t>
          </a:r>
          <a:br>
            <a:rPr lang="pl-PL" sz="1200" kern="1200" dirty="0"/>
          </a:br>
          <a:r>
            <a:rPr lang="pl-PL" sz="1200" kern="1200" dirty="0"/>
            <a:t>one file</a:t>
          </a:r>
          <a:endParaRPr lang="en-US" sz="1200" kern="1200" dirty="0"/>
        </a:p>
      </dsp:txBody>
      <dsp:txXfrm>
        <a:off x="1202658" y="748286"/>
        <a:ext cx="963464" cy="435964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741038-82F9-499F-A80A-7896A5EF3A5E}">
      <dsp:nvSpPr>
        <dsp:cNvPr id="0" name=""/>
        <dsp:cNvSpPr/>
      </dsp:nvSpPr>
      <dsp:spPr>
        <a:xfrm>
          <a:off x="1857901" y="1834"/>
          <a:ext cx="2712012" cy="12266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3200" kern="1200" dirty="0"/>
            <a:t>One to fit all</a:t>
          </a:r>
          <a:endParaRPr lang="de-DE" sz="3200" kern="1200" dirty="0"/>
        </a:p>
      </dsp:txBody>
      <dsp:txXfrm>
        <a:off x="1857901" y="1834"/>
        <a:ext cx="2712012" cy="1226600"/>
      </dsp:txXfrm>
    </dsp:sp>
    <dsp:sp modelId="{2482745A-4D2D-45E5-B2DE-4268E6ABAF54}">
      <dsp:nvSpPr>
        <dsp:cNvPr id="0" name=""/>
        <dsp:cNvSpPr/>
      </dsp:nvSpPr>
      <dsp:spPr>
        <a:xfrm>
          <a:off x="522133" y="1834"/>
          <a:ext cx="1214334" cy="12266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72478B-F252-4E1B-856F-595E40E3DC1B}">
      <dsp:nvSpPr>
        <dsp:cNvPr id="0" name=""/>
        <dsp:cNvSpPr/>
      </dsp:nvSpPr>
      <dsp:spPr>
        <a:xfrm>
          <a:off x="522133" y="1430823"/>
          <a:ext cx="2712012" cy="1226600"/>
        </a:xfrm>
        <a:prstGeom prst="rect">
          <a:avLst/>
        </a:prstGeom>
        <a:solidFill>
          <a:schemeClr val="accent5">
            <a:hueOff val="-3950113"/>
            <a:satOff val="-10375"/>
            <a:lumOff val="127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noProof="0" dirty="0"/>
            <a:t>Infrastructure support</a:t>
          </a:r>
        </a:p>
      </dsp:txBody>
      <dsp:txXfrm>
        <a:off x="522133" y="1430823"/>
        <a:ext cx="2712012" cy="1226600"/>
      </dsp:txXfrm>
    </dsp:sp>
    <dsp:sp modelId="{7AE05A58-8395-41F1-B3CE-4E203674E459}">
      <dsp:nvSpPr>
        <dsp:cNvPr id="0" name=""/>
        <dsp:cNvSpPr/>
      </dsp:nvSpPr>
      <dsp:spPr>
        <a:xfrm>
          <a:off x="3355580" y="1430823"/>
          <a:ext cx="1214334" cy="12266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1000" r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E2AC38-B36A-4A4A-B9A6-46C45819A088}">
      <dsp:nvSpPr>
        <dsp:cNvPr id="0" name=""/>
        <dsp:cNvSpPr/>
      </dsp:nvSpPr>
      <dsp:spPr>
        <a:xfrm>
          <a:off x="1857901" y="2859812"/>
          <a:ext cx="2712012" cy="1226600"/>
        </a:xfrm>
        <a:prstGeom prst="rect">
          <a:avLst/>
        </a:prstGeom>
        <a:solidFill>
          <a:schemeClr val="accent5">
            <a:hueOff val="-7900226"/>
            <a:satOff val="-20750"/>
            <a:lumOff val="2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3200" kern="1200" dirty="0"/>
            <a:t>Practictional expertise</a:t>
          </a:r>
          <a:endParaRPr lang="de-DE" sz="3200" kern="1200" dirty="0"/>
        </a:p>
      </dsp:txBody>
      <dsp:txXfrm>
        <a:off x="1857901" y="2859812"/>
        <a:ext cx="2712012" cy="1226600"/>
      </dsp:txXfrm>
    </dsp:sp>
    <dsp:sp modelId="{297D851F-C979-4F1B-AAA6-988EE90EBF6A}">
      <dsp:nvSpPr>
        <dsp:cNvPr id="0" name=""/>
        <dsp:cNvSpPr/>
      </dsp:nvSpPr>
      <dsp:spPr>
        <a:xfrm>
          <a:off x="522133" y="2859812"/>
          <a:ext cx="1214334" cy="12266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1000" r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4D588B-2C5E-413E-8FB3-A45A598FE77E}">
      <dsp:nvSpPr>
        <dsp:cNvPr id="0" name=""/>
        <dsp:cNvSpPr/>
      </dsp:nvSpPr>
      <dsp:spPr>
        <a:xfrm>
          <a:off x="3144" y="2592234"/>
          <a:ext cx="4713649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noProof="0"/>
            <a:t>Database module</a:t>
          </a:r>
        </a:p>
      </dsp:txBody>
      <dsp:txXfrm>
        <a:off x="37755" y="2626845"/>
        <a:ext cx="4644427" cy="1112488"/>
      </dsp:txXfrm>
    </dsp:sp>
    <dsp:sp modelId="{CDB456C7-FEB2-4189-8DB4-859E0B913BE7}">
      <dsp:nvSpPr>
        <dsp:cNvPr id="0" name=""/>
        <dsp:cNvSpPr/>
      </dsp:nvSpPr>
      <dsp:spPr>
        <a:xfrm>
          <a:off x="3960549" y="85075"/>
          <a:ext cx="752470" cy="2426700"/>
        </a:xfrm>
        <a:prstGeom prst="roundRect">
          <a:avLst>
            <a:gd name="adj" fmla="val 1000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noProof="0"/>
            <a:t>Security module</a:t>
          </a:r>
        </a:p>
      </dsp:txBody>
      <dsp:txXfrm>
        <a:off x="3982588" y="107114"/>
        <a:ext cx="708392" cy="2382622"/>
      </dsp:txXfrm>
    </dsp:sp>
    <dsp:sp modelId="{79946D67-CF20-4533-873C-9747C402A031}">
      <dsp:nvSpPr>
        <dsp:cNvPr id="0" name=""/>
        <dsp:cNvSpPr/>
      </dsp:nvSpPr>
      <dsp:spPr>
        <a:xfrm>
          <a:off x="4720" y="1351537"/>
          <a:ext cx="3888768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noProof="0"/>
            <a:t>WebAPI module</a:t>
          </a:r>
        </a:p>
      </dsp:txBody>
      <dsp:txXfrm>
        <a:off x="39331" y="1386148"/>
        <a:ext cx="3819546" cy="1112488"/>
      </dsp:txXfrm>
    </dsp:sp>
    <dsp:sp modelId="{7951CDCD-4F97-4CCA-8C56-4992B72B07BB}">
      <dsp:nvSpPr>
        <dsp:cNvPr id="0" name=""/>
        <dsp:cNvSpPr/>
      </dsp:nvSpPr>
      <dsp:spPr>
        <a:xfrm>
          <a:off x="2" y="97701"/>
          <a:ext cx="752470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/>
            <a:t>UI (Selenium) module</a:t>
          </a:r>
        </a:p>
      </dsp:txBody>
      <dsp:txXfrm>
        <a:off x="22041" y="119740"/>
        <a:ext cx="708392" cy="1137632"/>
      </dsp:txXfrm>
    </dsp:sp>
    <dsp:sp modelId="{16415C91-F210-4416-A0F4-1AA0347D5471}">
      <dsp:nvSpPr>
        <dsp:cNvPr id="0" name=""/>
        <dsp:cNvSpPr/>
      </dsp:nvSpPr>
      <dsp:spPr>
        <a:xfrm>
          <a:off x="783843" y="97701"/>
          <a:ext cx="752470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/>
            <a:t>Selenium Grid</a:t>
          </a:r>
        </a:p>
      </dsp:txBody>
      <dsp:txXfrm>
        <a:off x="805882" y="119740"/>
        <a:ext cx="708392" cy="1137632"/>
      </dsp:txXfrm>
    </dsp:sp>
    <dsp:sp modelId="{D8A6C93A-917D-4567-B16D-E30EEE8A93BD}">
      <dsp:nvSpPr>
        <dsp:cNvPr id="0" name=""/>
        <dsp:cNvSpPr/>
      </dsp:nvSpPr>
      <dsp:spPr>
        <a:xfrm>
          <a:off x="1567918" y="97701"/>
          <a:ext cx="752470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 dirty="0"/>
            <a:t>Mobile (</a:t>
          </a:r>
          <a:r>
            <a:rPr lang="en-US" sz="900" kern="1200" noProof="0" dirty="0" err="1"/>
            <a:t>Appium</a:t>
          </a:r>
          <a:r>
            <a:rPr lang="en-US" sz="900" kern="1200" noProof="0" dirty="0"/>
            <a:t>) app</a:t>
          </a:r>
          <a:r>
            <a:rPr lang="pl-PL" sz="900" kern="1200" noProof="0" dirty="0"/>
            <a:t> *</a:t>
          </a:r>
          <a:endParaRPr lang="en-US" sz="900" kern="1200" noProof="0" dirty="0"/>
        </a:p>
      </dsp:txBody>
      <dsp:txXfrm>
        <a:off x="1589957" y="119740"/>
        <a:ext cx="708392" cy="1137632"/>
      </dsp:txXfrm>
    </dsp:sp>
    <dsp:sp modelId="{10845D90-6534-40EB-8279-CF7912BF2E6A}">
      <dsp:nvSpPr>
        <dsp:cNvPr id="0" name=""/>
        <dsp:cNvSpPr/>
      </dsp:nvSpPr>
      <dsp:spPr>
        <a:xfrm>
          <a:off x="2351992" y="97701"/>
          <a:ext cx="752470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 dirty="0"/>
            <a:t>Mobile </a:t>
          </a:r>
          <a:br>
            <a:rPr lang="pl-PL" sz="900" kern="1200" noProof="0" dirty="0"/>
          </a:br>
          <a:r>
            <a:rPr lang="en-US" sz="900" kern="1200" noProof="0" dirty="0"/>
            <a:t>Grid</a:t>
          </a:r>
          <a:r>
            <a:rPr lang="pl-PL" sz="900" kern="1200" noProof="0" dirty="0"/>
            <a:t> *</a:t>
          </a:r>
          <a:endParaRPr lang="en-US" sz="900" kern="1200" noProof="0" dirty="0"/>
        </a:p>
      </dsp:txBody>
      <dsp:txXfrm>
        <a:off x="2374031" y="119740"/>
        <a:ext cx="708392" cy="1137632"/>
      </dsp:txXfrm>
    </dsp:sp>
    <dsp:sp modelId="{9A46057F-5CDA-4B57-BF6D-897D216AF86F}">
      <dsp:nvSpPr>
        <dsp:cNvPr id="0" name=""/>
        <dsp:cNvSpPr/>
      </dsp:nvSpPr>
      <dsp:spPr>
        <a:xfrm>
          <a:off x="3136067" y="97701"/>
          <a:ext cx="752470" cy="118171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noProof="0" dirty="0"/>
            <a:t>Standalone APP</a:t>
          </a:r>
          <a:r>
            <a:rPr lang="pl-PL" sz="900" kern="1200" noProof="0" dirty="0"/>
            <a:t> *</a:t>
          </a:r>
          <a:endParaRPr lang="en-US" sz="900" kern="1200" noProof="0" dirty="0"/>
        </a:p>
      </dsp:txBody>
      <dsp:txXfrm>
        <a:off x="3158106" y="119740"/>
        <a:ext cx="708392" cy="1137632"/>
      </dsp:txXfrm>
    </dsp:sp>
    <dsp:sp modelId="{1F321622-6935-42D4-AE83-D556256DD586}">
      <dsp:nvSpPr>
        <dsp:cNvPr id="0" name=""/>
        <dsp:cNvSpPr/>
      </dsp:nvSpPr>
      <dsp:spPr>
        <a:xfrm>
          <a:off x="4788663" y="119671"/>
          <a:ext cx="753942" cy="3654273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noProof="0"/>
            <a:t>DevOps module</a:t>
          </a:r>
        </a:p>
      </dsp:txBody>
      <dsp:txXfrm>
        <a:off x="4810745" y="141753"/>
        <a:ext cx="709778" cy="3610109"/>
      </dsp:txXfrm>
    </dsp:sp>
    <dsp:sp modelId="{AF9421C1-0977-4165-AE01-1E0941FF1DC2}">
      <dsp:nvSpPr>
        <dsp:cNvPr id="0" name=""/>
        <dsp:cNvSpPr/>
      </dsp:nvSpPr>
      <dsp:spPr>
        <a:xfrm>
          <a:off x="5618939" y="119517"/>
          <a:ext cx="753942" cy="3653292"/>
        </a:xfrm>
        <a:prstGeom prst="roundRect">
          <a:avLst>
            <a:gd name="adj" fmla="val 1000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noProof="0" dirty="0"/>
            <a:t>Test core module</a:t>
          </a:r>
        </a:p>
      </dsp:txBody>
      <dsp:txXfrm>
        <a:off x="5641021" y="141599"/>
        <a:ext cx="709778" cy="360912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FA4AC6-E825-4477-B889-F9C66C1195B8}">
      <dsp:nvSpPr>
        <dsp:cNvPr id="0" name=""/>
        <dsp:cNvSpPr/>
      </dsp:nvSpPr>
      <dsp:spPr>
        <a:xfrm>
          <a:off x="992833" y="0"/>
          <a:ext cx="1033438" cy="1310902"/>
        </a:xfrm>
        <a:prstGeom prst="trapezoid">
          <a:avLst>
            <a:gd name="adj" fmla="val 50000"/>
          </a:avLst>
        </a:prstGeom>
        <a:solidFill>
          <a:srgbClr val="7030A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pl-PL" sz="2400" kern="1200" dirty="0"/>
          </a:br>
          <a:r>
            <a:rPr lang="en-US" sz="2400" kern="1200" dirty="0"/>
            <a:t>UI</a:t>
          </a:r>
        </a:p>
      </dsp:txBody>
      <dsp:txXfrm>
        <a:off x="992833" y="0"/>
        <a:ext cx="1033438" cy="1310902"/>
      </dsp:txXfrm>
    </dsp:sp>
    <dsp:sp modelId="{3DF1A04F-9824-4FA2-8E9B-69197A34DB02}">
      <dsp:nvSpPr>
        <dsp:cNvPr id="0" name=""/>
        <dsp:cNvSpPr/>
      </dsp:nvSpPr>
      <dsp:spPr>
        <a:xfrm>
          <a:off x="509281" y="1296886"/>
          <a:ext cx="2011243" cy="1240331"/>
        </a:xfrm>
        <a:prstGeom prst="trapezoid">
          <a:avLst>
            <a:gd name="adj" fmla="val 39417"/>
          </a:avLst>
        </a:prstGeom>
        <a:solidFill>
          <a:schemeClr val="accent3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PI</a:t>
          </a:r>
        </a:p>
      </dsp:txBody>
      <dsp:txXfrm>
        <a:off x="861249" y="1296886"/>
        <a:ext cx="1307308" cy="1240331"/>
      </dsp:txXfrm>
    </dsp:sp>
    <dsp:sp modelId="{D9074314-C21A-447C-9E4D-59C6F495C412}">
      <dsp:nvSpPr>
        <dsp:cNvPr id="0" name=""/>
        <dsp:cNvSpPr/>
      </dsp:nvSpPr>
      <dsp:spPr>
        <a:xfrm>
          <a:off x="0" y="2551233"/>
          <a:ext cx="3008730" cy="1265296"/>
        </a:xfrm>
        <a:prstGeom prst="trapezoid">
          <a:avLst>
            <a:gd name="adj" fmla="val 39417"/>
          </a:avLst>
        </a:prstGeom>
        <a:solidFill>
          <a:srgbClr val="FFC00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 dirty="0"/>
            <a:t>BACKEND</a:t>
          </a:r>
          <a:endParaRPr lang="en-US" sz="2400" kern="1200" dirty="0"/>
        </a:p>
      </dsp:txBody>
      <dsp:txXfrm>
        <a:off x="526527" y="2551233"/>
        <a:ext cx="1955674" cy="126529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F6F180-5625-4DF9-B524-83E6F4F007AF}">
      <dsp:nvSpPr>
        <dsp:cNvPr id="0" name=""/>
        <dsp:cNvSpPr/>
      </dsp:nvSpPr>
      <dsp:spPr>
        <a:xfrm>
          <a:off x="0" y="1810"/>
          <a:ext cx="7705070" cy="79166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noProof="0" dirty="0">
              <a:latin typeface="Calibri" pitchFamily="34" charset="0"/>
            </a:rPr>
            <a:t>End to end project verification under one solution</a:t>
          </a:r>
        </a:p>
      </dsp:txBody>
      <dsp:txXfrm>
        <a:off x="0" y="1810"/>
        <a:ext cx="7705070" cy="791667"/>
      </dsp:txXfrm>
    </dsp:sp>
    <dsp:sp modelId="{5AD670EB-252B-4FE3-A0EA-136061CBCC3E}">
      <dsp:nvSpPr>
        <dsp:cNvPr id="0" name=""/>
        <dsp:cNvSpPr/>
      </dsp:nvSpPr>
      <dsp:spPr>
        <a:xfrm>
          <a:off x="523921" y="833061"/>
          <a:ext cx="6657226" cy="79166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noProof="0" dirty="0">
              <a:latin typeface="Calibri" pitchFamily="34" charset="0"/>
            </a:rPr>
            <a:t>Resilient and robust DevOps driven delivery</a:t>
          </a:r>
        </a:p>
      </dsp:txBody>
      <dsp:txXfrm>
        <a:off x="523921" y="833061"/>
        <a:ext cx="6657226" cy="791667"/>
      </dsp:txXfrm>
    </dsp:sp>
    <dsp:sp modelId="{823A27D6-2879-4047-A15B-23CFAA50A4EF}">
      <dsp:nvSpPr>
        <dsp:cNvPr id="0" name=""/>
        <dsp:cNvSpPr/>
      </dsp:nvSpPr>
      <dsp:spPr>
        <a:xfrm>
          <a:off x="1962535" y="1664311"/>
          <a:ext cx="3780000" cy="79166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noProof="0" dirty="0">
              <a:latin typeface="Calibri" pitchFamily="34" charset="0"/>
            </a:rPr>
            <a:t>Team quality awareness</a:t>
          </a:r>
        </a:p>
      </dsp:txBody>
      <dsp:txXfrm>
        <a:off x="1962535" y="1664311"/>
        <a:ext cx="3780000" cy="791667"/>
      </dsp:txXfrm>
    </dsp:sp>
    <dsp:sp modelId="{F5B730CA-03DF-43F2-957C-0C9C73C62D43}">
      <dsp:nvSpPr>
        <dsp:cNvPr id="0" name=""/>
        <dsp:cNvSpPr/>
      </dsp:nvSpPr>
      <dsp:spPr>
        <a:xfrm>
          <a:off x="2142535" y="2495561"/>
          <a:ext cx="3420000" cy="791667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noProof="0" dirty="0">
              <a:latin typeface="Calibri" pitchFamily="34" charset="0"/>
            </a:rPr>
            <a:t>Shift left quality gates</a:t>
          </a:r>
        </a:p>
      </dsp:txBody>
      <dsp:txXfrm>
        <a:off x="2142535" y="2495561"/>
        <a:ext cx="3420000" cy="791667"/>
      </dsp:txXfrm>
    </dsp:sp>
    <dsp:sp modelId="{70D54662-7F9C-4D56-9EF6-F9E084CA0955}">
      <dsp:nvSpPr>
        <dsp:cNvPr id="0" name=""/>
        <dsp:cNvSpPr/>
      </dsp:nvSpPr>
      <dsp:spPr>
        <a:xfrm>
          <a:off x="2570035" y="3326812"/>
          <a:ext cx="2565000" cy="791667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noProof="0" dirty="0">
              <a:latin typeface="Calibri" pitchFamily="34" charset="0"/>
            </a:rPr>
            <a:t>Easy to enhance</a:t>
          </a:r>
        </a:p>
      </dsp:txBody>
      <dsp:txXfrm>
        <a:off x="2570035" y="3326812"/>
        <a:ext cx="2565000" cy="79166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33EA99-C4F0-4BCC-8226-7A7A21589F6E}">
      <dsp:nvSpPr>
        <dsp:cNvPr id="0" name=""/>
        <dsp:cNvSpPr/>
      </dsp:nvSpPr>
      <dsp:spPr>
        <a:xfrm>
          <a:off x="4075" y="80484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Core functions</a:t>
          </a:r>
        </a:p>
      </dsp:txBody>
      <dsp:txXfrm>
        <a:off x="35388" y="111797"/>
        <a:ext cx="1719191" cy="1006464"/>
      </dsp:txXfrm>
    </dsp:sp>
    <dsp:sp modelId="{1D85CC6C-4D09-4F02-949B-CFDF45A15DF9}">
      <dsp:nvSpPr>
        <dsp:cNvPr id="0" name=""/>
        <dsp:cNvSpPr/>
      </dsp:nvSpPr>
      <dsp:spPr>
        <a:xfrm>
          <a:off x="1942692" y="394084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>
        <a:off x="1942692" y="482462"/>
        <a:ext cx="264422" cy="265134"/>
      </dsp:txXfrm>
    </dsp:sp>
    <dsp:sp modelId="{058D7507-BCDD-4864-9F57-7A20C2AEDD25}">
      <dsp:nvSpPr>
        <dsp:cNvPr id="0" name=""/>
        <dsp:cNvSpPr/>
      </dsp:nvSpPr>
      <dsp:spPr>
        <a:xfrm>
          <a:off x="2498619" y="80484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2164786"/>
            <a:satOff val="-2170"/>
            <a:lumOff val="-85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UI test module</a:t>
          </a:r>
        </a:p>
      </dsp:txBody>
      <dsp:txXfrm>
        <a:off x="2529932" y="111797"/>
        <a:ext cx="1719191" cy="1006464"/>
      </dsp:txXfrm>
    </dsp:sp>
    <dsp:sp modelId="{6C5F7890-C0EF-450D-812D-C036E762566E}">
      <dsp:nvSpPr>
        <dsp:cNvPr id="0" name=""/>
        <dsp:cNvSpPr/>
      </dsp:nvSpPr>
      <dsp:spPr>
        <a:xfrm>
          <a:off x="4437236" y="394084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2435384"/>
            <a:satOff val="-2441"/>
            <a:lumOff val="-9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>
        <a:off x="4437236" y="482462"/>
        <a:ext cx="264422" cy="265134"/>
      </dsp:txXfrm>
    </dsp:sp>
    <dsp:sp modelId="{31B266D5-CC0F-4F39-9E86-C4D7551C666F}">
      <dsp:nvSpPr>
        <dsp:cNvPr id="0" name=""/>
        <dsp:cNvSpPr/>
      </dsp:nvSpPr>
      <dsp:spPr>
        <a:xfrm>
          <a:off x="4993163" y="80484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4329571"/>
            <a:satOff val="-4340"/>
            <a:lumOff val="-16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Selenium Grid infrastructure</a:t>
          </a:r>
        </a:p>
      </dsp:txBody>
      <dsp:txXfrm>
        <a:off x="5024476" y="111797"/>
        <a:ext cx="1719191" cy="1006464"/>
      </dsp:txXfrm>
    </dsp:sp>
    <dsp:sp modelId="{C3286939-E59D-44D4-BAA8-E9AE958BF233}">
      <dsp:nvSpPr>
        <dsp:cNvPr id="0" name=""/>
        <dsp:cNvSpPr/>
      </dsp:nvSpPr>
      <dsp:spPr>
        <a:xfrm>
          <a:off x="6931780" y="394084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4870768"/>
            <a:satOff val="-4882"/>
            <a:lumOff val="-191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>
        <a:off x="6931780" y="482462"/>
        <a:ext cx="264422" cy="265134"/>
      </dsp:txXfrm>
    </dsp:sp>
    <dsp:sp modelId="{14EEA9FE-19D0-4D2E-A9AA-082BD21386D1}">
      <dsp:nvSpPr>
        <dsp:cNvPr id="0" name=""/>
        <dsp:cNvSpPr/>
      </dsp:nvSpPr>
      <dsp:spPr>
        <a:xfrm>
          <a:off x="7487707" y="80484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6494357"/>
            <a:satOff val="-6510"/>
            <a:lumOff val="-2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DevOps infrastructure</a:t>
          </a:r>
        </a:p>
      </dsp:txBody>
      <dsp:txXfrm>
        <a:off x="7519020" y="111797"/>
        <a:ext cx="1719191" cy="1006464"/>
      </dsp:txXfrm>
    </dsp:sp>
    <dsp:sp modelId="{6F9B85EF-A4BC-415B-9B57-65BA4589DECC}">
      <dsp:nvSpPr>
        <dsp:cNvPr id="0" name=""/>
        <dsp:cNvSpPr/>
      </dsp:nvSpPr>
      <dsp:spPr>
        <a:xfrm rot="5400000">
          <a:off x="8189743" y="1274302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7306151"/>
            <a:satOff val="-7323"/>
            <a:lumOff val="-286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 rot="-5400000">
        <a:off x="8246049" y="1306375"/>
        <a:ext cx="265134" cy="264422"/>
      </dsp:txXfrm>
    </dsp:sp>
    <dsp:sp modelId="{0AF30173-A7D1-44E2-A9A5-B5C144A146D4}">
      <dsp:nvSpPr>
        <dsp:cNvPr id="0" name=""/>
        <dsp:cNvSpPr/>
      </dsp:nvSpPr>
      <dsp:spPr>
        <a:xfrm>
          <a:off x="7487707" y="1862301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8659143"/>
            <a:satOff val="-8680"/>
            <a:lumOff val="-33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WebAPI test module</a:t>
          </a:r>
        </a:p>
      </dsp:txBody>
      <dsp:txXfrm>
        <a:off x="7519020" y="1893614"/>
        <a:ext cx="1719191" cy="1006464"/>
      </dsp:txXfrm>
    </dsp:sp>
    <dsp:sp modelId="{14C1A7AB-122F-4FD0-8E6F-D988D1BA95C5}">
      <dsp:nvSpPr>
        <dsp:cNvPr id="0" name=""/>
        <dsp:cNvSpPr/>
      </dsp:nvSpPr>
      <dsp:spPr>
        <a:xfrm rot="10800000">
          <a:off x="6953162" y="2175901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9741535"/>
            <a:satOff val="-9765"/>
            <a:lumOff val="-38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 rot="10800000">
        <a:off x="7066485" y="2264279"/>
        <a:ext cx="264422" cy="265134"/>
      </dsp:txXfrm>
    </dsp:sp>
    <dsp:sp modelId="{F554B1C5-C7A1-4BF6-B363-782DA6818C2F}">
      <dsp:nvSpPr>
        <dsp:cNvPr id="0" name=""/>
        <dsp:cNvSpPr/>
      </dsp:nvSpPr>
      <dsp:spPr>
        <a:xfrm>
          <a:off x="4993163" y="1862301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10823928"/>
            <a:satOff val="-10849"/>
            <a:lumOff val="-424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Security test module </a:t>
          </a:r>
        </a:p>
      </dsp:txBody>
      <dsp:txXfrm>
        <a:off x="5024476" y="1893614"/>
        <a:ext cx="1719191" cy="1006464"/>
      </dsp:txXfrm>
    </dsp:sp>
    <dsp:sp modelId="{C77C49A8-68BF-4AAB-A60B-EB10560A6ADB}">
      <dsp:nvSpPr>
        <dsp:cNvPr id="0" name=""/>
        <dsp:cNvSpPr/>
      </dsp:nvSpPr>
      <dsp:spPr>
        <a:xfrm rot="10800000">
          <a:off x="4458618" y="2175901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2176918"/>
            <a:satOff val="-12206"/>
            <a:lumOff val="-477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 rot="10800000">
        <a:off x="4571941" y="2264279"/>
        <a:ext cx="264422" cy="265134"/>
      </dsp:txXfrm>
    </dsp:sp>
    <dsp:sp modelId="{BFBE5DC6-39B6-4059-8677-75468E76C775}">
      <dsp:nvSpPr>
        <dsp:cNvPr id="0" name=""/>
        <dsp:cNvSpPr/>
      </dsp:nvSpPr>
      <dsp:spPr>
        <a:xfrm>
          <a:off x="2498619" y="1862301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12988714"/>
            <a:satOff val="-13019"/>
            <a:lumOff val="-5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Database test module</a:t>
          </a:r>
        </a:p>
      </dsp:txBody>
      <dsp:txXfrm>
        <a:off x="2529932" y="1893614"/>
        <a:ext cx="1719191" cy="1006464"/>
      </dsp:txXfrm>
    </dsp:sp>
    <dsp:sp modelId="{F5DD41C5-BEC0-496C-B294-5B8E97919EB3}">
      <dsp:nvSpPr>
        <dsp:cNvPr id="0" name=""/>
        <dsp:cNvSpPr/>
      </dsp:nvSpPr>
      <dsp:spPr>
        <a:xfrm rot="10800000">
          <a:off x="1964074" y="2175901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4612303"/>
            <a:satOff val="-14647"/>
            <a:lumOff val="-57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 rot="10800000">
        <a:off x="2077397" y="2264279"/>
        <a:ext cx="264422" cy="265134"/>
      </dsp:txXfrm>
    </dsp:sp>
    <dsp:sp modelId="{9E0E1EBA-90BA-463B-8AC4-02C81721497A}">
      <dsp:nvSpPr>
        <dsp:cNvPr id="0" name=""/>
        <dsp:cNvSpPr/>
      </dsp:nvSpPr>
      <dsp:spPr>
        <a:xfrm>
          <a:off x="4075" y="1862301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15153499"/>
            <a:satOff val="-15189"/>
            <a:lumOff val="-594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/>
            <a:t>Mobile App test module *</a:t>
          </a:r>
        </a:p>
      </dsp:txBody>
      <dsp:txXfrm>
        <a:off x="35388" y="1893614"/>
        <a:ext cx="1719191" cy="1006464"/>
      </dsp:txXfrm>
    </dsp:sp>
    <dsp:sp modelId="{96155ACE-FBE8-4038-A495-9DB96465F4E4}">
      <dsp:nvSpPr>
        <dsp:cNvPr id="0" name=""/>
        <dsp:cNvSpPr/>
      </dsp:nvSpPr>
      <dsp:spPr>
        <a:xfrm rot="5400000">
          <a:off x="811450" y="3056119"/>
          <a:ext cx="380511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7047687"/>
            <a:satOff val="-17088"/>
            <a:lumOff val="-66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 rot="-5400000">
        <a:off x="869139" y="3086809"/>
        <a:ext cx="265134" cy="266358"/>
      </dsp:txXfrm>
    </dsp:sp>
    <dsp:sp modelId="{1A4C39AA-79E3-4D97-954A-3F2164F60A65}">
      <dsp:nvSpPr>
        <dsp:cNvPr id="0" name=""/>
        <dsp:cNvSpPr/>
      </dsp:nvSpPr>
      <dsp:spPr>
        <a:xfrm>
          <a:off x="4075" y="3644119"/>
          <a:ext cx="2213890" cy="1069090"/>
        </a:xfrm>
        <a:prstGeom prst="roundRect">
          <a:avLst>
            <a:gd name="adj" fmla="val 10000"/>
          </a:avLst>
        </a:prstGeom>
        <a:solidFill>
          <a:schemeClr val="accent2">
            <a:hueOff val="17318286"/>
            <a:satOff val="-17359"/>
            <a:lumOff val="-67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/>
            <a:t>Mobile Grid infrastructure *</a:t>
          </a:r>
        </a:p>
      </dsp:txBody>
      <dsp:txXfrm>
        <a:off x="35388" y="3675432"/>
        <a:ext cx="2151264" cy="1006464"/>
      </dsp:txXfrm>
    </dsp:sp>
    <dsp:sp modelId="{940D40E0-1488-41D2-88A1-1D2A9C85C918}">
      <dsp:nvSpPr>
        <dsp:cNvPr id="0" name=""/>
        <dsp:cNvSpPr/>
      </dsp:nvSpPr>
      <dsp:spPr>
        <a:xfrm>
          <a:off x="2374765" y="3957718"/>
          <a:ext cx="377745" cy="44189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9483070"/>
            <a:satOff val="-19529"/>
            <a:lumOff val="-764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noProof="0"/>
        </a:p>
      </dsp:txBody>
      <dsp:txXfrm>
        <a:off x="2374765" y="4046096"/>
        <a:ext cx="264422" cy="265134"/>
      </dsp:txXfrm>
    </dsp:sp>
    <dsp:sp modelId="{79992BBD-B051-4FAF-B5B8-77FA3B6235DC}">
      <dsp:nvSpPr>
        <dsp:cNvPr id="0" name=""/>
        <dsp:cNvSpPr/>
      </dsp:nvSpPr>
      <dsp:spPr>
        <a:xfrm>
          <a:off x="2930692" y="3644119"/>
          <a:ext cx="1781817" cy="1069090"/>
        </a:xfrm>
        <a:prstGeom prst="roundRect">
          <a:avLst>
            <a:gd name="adj" fmla="val 10000"/>
          </a:avLst>
        </a:prstGeom>
        <a:solidFill>
          <a:schemeClr val="accent2">
            <a:hueOff val="19483070"/>
            <a:satOff val="-19529"/>
            <a:lumOff val="-7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/>
            <a:t>Standalone app test module *</a:t>
          </a:r>
        </a:p>
      </dsp:txBody>
      <dsp:txXfrm>
        <a:off x="2962005" y="3675432"/>
        <a:ext cx="1719191" cy="100646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2EF0EB-B252-4BC3-A06F-72AA30BF178E}">
      <dsp:nvSpPr>
        <dsp:cNvPr id="0" name=""/>
        <dsp:cNvSpPr/>
      </dsp:nvSpPr>
      <dsp:spPr>
        <a:xfrm rot="5400000">
          <a:off x="2466954" y="152265"/>
          <a:ext cx="1620225" cy="1409595"/>
        </a:xfrm>
        <a:prstGeom prst="hexagon">
          <a:avLst>
            <a:gd name="adj" fmla="val 25000"/>
            <a:gd name="vf" fmla="val 115470"/>
          </a:avLst>
        </a:prstGeom>
        <a:solidFill>
          <a:srgbClr val="6A952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 dirty="0"/>
            <a:t>Switch ON quality</a:t>
          </a:r>
        </a:p>
      </dsp:txBody>
      <dsp:txXfrm rot="-5400000">
        <a:off x="2791931" y="299435"/>
        <a:ext cx="970271" cy="1115255"/>
      </dsp:txXfrm>
    </dsp:sp>
    <dsp:sp modelId="{2C84F8A6-9F54-4DED-BEC7-410A64D8472B}">
      <dsp:nvSpPr>
        <dsp:cNvPr id="0" name=""/>
        <dsp:cNvSpPr/>
      </dsp:nvSpPr>
      <dsp:spPr>
        <a:xfrm>
          <a:off x="4024638" y="370995"/>
          <a:ext cx="1808171" cy="9721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D1B28-55D2-4661-9B48-D46DD7C6F172}">
      <dsp:nvSpPr>
        <dsp:cNvPr id="0" name=""/>
        <dsp:cNvSpPr/>
      </dsp:nvSpPr>
      <dsp:spPr>
        <a:xfrm rot="5400000">
          <a:off x="944591" y="152265"/>
          <a:ext cx="1620225" cy="1409595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269568" y="299435"/>
        <a:ext cx="970271" cy="1115255"/>
      </dsp:txXfrm>
    </dsp:sp>
    <dsp:sp modelId="{0E654833-B3D7-4466-92A7-52D61721734B}">
      <dsp:nvSpPr>
        <dsp:cNvPr id="0" name=""/>
        <dsp:cNvSpPr/>
      </dsp:nvSpPr>
      <dsp:spPr>
        <a:xfrm rot="5400000">
          <a:off x="1702856" y="1527512"/>
          <a:ext cx="1620225" cy="1409595"/>
        </a:xfrm>
        <a:prstGeom prst="hexagon">
          <a:avLst>
            <a:gd name="adj" fmla="val 25000"/>
            <a:gd name="vf" fmla="val 115470"/>
          </a:avLst>
        </a:prstGeom>
        <a:solidFill>
          <a:srgbClr val="0085B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/>
            <a:t>One solution to fit all</a:t>
          </a:r>
        </a:p>
      </dsp:txBody>
      <dsp:txXfrm rot="-5400000">
        <a:off x="2027833" y="1674682"/>
        <a:ext cx="970271" cy="1115255"/>
      </dsp:txXfrm>
    </dsp:sp>
    <dsp:sp modelId="{A63FCDCD-9300-424B-B5F3-2490EC955C86}">
      <dsp:nvSpPr>
        <dsp:cNvPr id="0" name=""/>
        <dsp:cNvSpPr/>
      </dsp:nvSpPr>
      <dsp:spPr>
        <a:xfrm>
          <a:off x="0" y="1746242"/>
          <a:ext cx="1749843" cy="9721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83753A-2CBC-46D5-A237-7CD32146492C}">
      <dsp:nvSpPr>
        <dsp:cNvPr id="0" name=""/>
        <dsp:cNvSpPr/>
      </dsp:nvSpPr>
      <dsp:spPr>
        <a:xfrm rot="5400000">
          <a:off x="3225219" y="1527512"/>
          <a:ext cx="1620225" cy="1409595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3550196" y="1674682"/>
        <a:ext cx="970271" cy="1115255"/>
      </dsp:txXfrm>
    </dsp:sp>
    <dsp:sp modelId="{D2E1E186-8C78-4977-9223-FD67ACF0AAFF}">
      <dsp:nvSpPr>
        <dsp:cNvPr id="0" name=""/>
        <dsp:cNvSpPr/>
      </dsp:nvSpPr>
      <dsp:spPr>
        <a:xfrm rot="5400000">
          <a:off x="2466954" y="2902759"/>
          <a:ext cx="1620225" cy="1409595"/>
        </a:xfrm>
        <a:prstGeom prst="hexagon">
          <a:avLst>
            <a:gd name="adj" fmla="val 25000"/>
            <a:gd name="vf" fmla="val 115470"/>
          </a:avLst>
        </a:prstGeom>
        <a:solidFill>
          <a:srgbClr val="DA9C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noProof="0" dirty="0"/>
            <a:t>Break team silos </a:t>
          </a:r>
        </a:p>
      </dsp:txBody>
      <dsp:txXfrm rot="-5400000">
        <a:off x="2791931" y="3049929"/>
        <a:ext cx="970271" cy="1115255"/>
      </dsp:txXfrm>
    </dsp:sp>
    <dsp:sp modelId="{89B2CB3C-27CC-44EB-BAAE-8724FF87BCA9}">
      <dsp:nvSpPr>
        <dsp:cNvPr id="0" name=""/>
        <dsp:cNvSpPr/>
      </dsp:nvSpPr>
      <dsp:spPr>
        <a:xfrm>
          <a:off x="4024638" y="3121489"/>
          <a:ext cx="1808171" cy="9721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F7C39B-A2FA-439F-90BC-D1F836A75373}">
      <dsp:nvSpPr>
        <dsp:cNvPr id="0" name=""/>
        <dsp:cNvSpPr/>
      </dsp:nvSpPr>
      <dsp:spPr>
        <a:xfrm rot="5400000">
          <a:off x="944591" y="2902759"/>
          <a:ext cx="1620225" cy="1409595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269568" y="3049929"/>
        <a:ext cx="970271" cy="111525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732934-316F-4E87-A726-DFC8F3AE0F0F}">
      <dsp:nvSpPr>
        <dsp:cNvPr id="0" name=""/>
        <dsp:cNvSpPr/>
      </dsp:nvSpPr>
      <dsp:spPr>
        <a:xfrm>
          <a:off x="3666650" y="2396847"/>
          <a:ext cx="433527" cy="20652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6763" y="0"/>
              </a:lnTo>
              <a:lnTo>
                <a:pt x="216763" y="2065203"/>
              </a:lnTo>
              <a:lnTo>
                <a:pt x="433527" y="206520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/>
        </a:p>
      </dsp:txBody>
      <dsp:txXfrm>
        <a:off x="3830658" y="3376693"/>
        <a:ext cx="105510" cy="105510"/>
      </dsp:txXfrm>
    </dsp:sp>
    <dsp:sp modelId="{B45BB27D-FF6C-448E-96C9-983767BCD3D0}">
      <dsp:nvSpPr>
        <dsp:cNvPr id="0" name=""/>
        <dsp:cNvSpPr/>
      </dsp:nvSpPr>
      <dsp:spPr>
        <a:xfrm>
          <a:off x="3666650" y="2396847"/>
          <a:ext cx="433527" cy="12391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6763" y="0"/>
              </a:lnTo>
              <a:lnTo>
                <a:pt x="216763" y="1239121"/>
              </a:lnTo>
              <a:lnTo>
                <a:pt x="433527" y="123912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50594" y="2983588"/>
        <a:ext cx="65638" cy="65638"/>
      </dsp:txXfrm>
    </dsp:sp>
    <dsp:sp modelId="{CED8ED8D-9F01-44F3-9083-CCFF5C14B8EE}">
      <dsp:nvSpPr>
        <dsp:cNvPr id="0" name=""/>
        <dsp:cNvSpPr/>
      </dsp:nvSpPr>
      <dsp:spPr>
        <a:xfrm>
          <a:off x="3666650" y="2396847"/>
          <a:ext cx="433527" cy="4130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6763" y="0"/>
              </a:lnTo>
              <a:lnTo>
                <a:pt x="216763" y="413040"/>
              </a:lnTo>
              <a:lnTo>
                <a:pt x="433527" y="41304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68444" y="2588397"/>
        <a:ext cx="29939" cy="29939"/>
      </dsp:txXfrm>
    </dsp:sp>
    <dsp:sp modelId="{DEC54B5E-09D1-46D5-9D9B-4164DAEE12C3}">
      <dsp:nvSpPr>
        <dsp:cNvPr id="0" name=""/>
        <dsp:cNvSpPr/>
      </dsp:nvSpPr>
      <dsp:spPr>
        <a:xfrm>
          <a:off x="3666650" y="1983806"/>
          <a:ext cx="433527" cy="413040"/>
        </a:xfrm>
        <a:custGeom>
          <a:avLst/>
          <a:gdLst/>
          <a:ahLst/>
          <a:cxnLst/>
          <a:rect l="0" t="0" r="0" b="0"/>
          <a:pathLst>
            <a:path>
              <a:moveTo>
                <a:pt x="0" y="413040"/>
              </a:moveTo>
              <a:lnTo>
                <a:pt x="216763" y="413040"/>
              </a:lnTo>
              <a:lnTo>
                <a:pt x="216763" y="0"/>
              </a:lnTo>
              <a:lnTo>
                <a:pt x="433527" y="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68444" y="2175356"/>
        <a:ext cx="29939" cy="29939"/>
      </dsp:txXfrm>
    </dsp:sp>
    <dsp:sp modelId="{7069569A-E5DC-4F37-B2E0-CEE096DC0182}">
      <dsp:nvSpPr>
        <dsp:cNvPr id="0" name=""/>
        <dsp:cNvSpPr/>
      </dsp:nvSpPr>
      <dsp:spPr>
        <a:xfrm>
          <a:off x="3666650" y="1157725"/>
          <a:ext cx="433527" cy="1239121"/>
        </a:xfrm>
        <a:custGeom>
          <a:avLst/>
          <a:gdLst/>
          <a:ahLst/>
          <a:cxnLst/>
          <a:rect l="0" t="0" r="0" b="0"/>
          <a:pathLst>
            <a:path>
              <a:moveTo>
                <a:pt x="0" y="1239121"/>
              </a:moveTo>
              <a:lnTo>
                <a:pt x="216763" y="1239121"/>
              </a:lnTo>
              <a:lnTo>
                <a:pt x="216763" y="0"/>
              </a:lnTo>
              <a:lnTo>
                <a:pt x="433527" y="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50594" y="1744466"/>
        <a:ext cx="65638" cy="65638"/>
      </dsp:txXfrm>
    </dsp:sp>
    <dsp:sp modelId="{5B9B95F2-2FBE-442C-82FE-4464E94DEFB7}">
      <dsp:nvSpPr>
        <dsp:cNvPr id="0" name=""/>
        <dsp:cNvSpPr/>
      </dsp:nvSpPr>
      <dsp:spPr>
        <a:xfrm>
          <a:off x="3666650" y="331643"/>
          <a:ext cx="433527" cy="2065203"/>
        </a:xfrm>
        <a:custGeom>
          <a:avLst/>
          <a:gdLst/>
          <a:ahLst/>
          <a:cxnLst/>
          <a:rect l="0" t="0" r="0" b="0"/>
          <a:pathLst>
            <a:path>
              <a:moveTo>
                <a:pt x="0" y="2065203"/>
              </a:moveTo>
              <a:lnTo>
                <a:pt x="216763" y="2065203"/>
              </a:lnTo>
              <a:lnTo>
                <a:pt x="216763" y="0"/>
              </a:lnTo>
              <a:lnTo>
                <a:pt x="433527" y="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/>
        </a:p>
      </dsp:txBody>
      <dsp:txXfrm>
        <a:off x="3830658" y="1311490"/>
        <a:ext cx="105510" cy="105510"/>
      </dsp:txXfrm>
    </dsp:sp>
    <dsp:sp modelId="{C0CC0A14-F1A7-49BB-A9EB-9E225AC19760}">
      <dsp:nvSpPr>
        <dsp:cNvPr id="0" name=""/>
        <dsp:cNvSpPr/>
      </dsp:nvSpPr>
      <dsp:spPr>
        <a:xfrm rot="16200000">
          <a:off x="1597099" y="2066414"/>
          <a:ext cx="3478236" cy="66086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25" tIns="22225" rIns="22225" bIns="2222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noProof="0" dirty="0"/>
            <a:t>Core</a:t>
          </a:r>
          <a:r>
            <a:rPr lang="pl-PL" sz="3500" kern="1200" noProof="0" dirty="0"/>
            <a:t> test</a:t>
          </a:r>
          <a:r>
            <a:rPr lang="en-US" sz="3500" kern="1200" noProof="0" dirty="0"/>
            <a:t> functions</a:t>
          </a:r>
        </a:p>
      </dsp:txBody>
      <dsp:txXfrm>
        <a:off x="1597099" y="2066414"/>
        <a:ext cx="3478236" cy="660865"/>
      </dsp:txXfrm>
    </dsp:sp>
    <dsp:sp modelId="{E6405A4F-8107-43D1-A649-4A7F943E6B6C}">
      <dsp:nvSpPr>
        <dsp:cNvPr id="0" name=""/>
        <dsp:cNvSpPr/>
      </dsp:nvSpPr>
      <dsp:spPr>
        <a:xfrm>
          <a:off x="4100177" y="1211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/>
            <a:t>UI test module</a:t>
          </a:r>
          <a:endParaRPr lang="en-US" sz="2200" kern="1200" dirty="0"/>
        </a:p>
      </dsp:txBody>
      <dsp:txXfrm>
        <a:off x="4100177" y="1211"/>
        <a:ext cx="2167637" cy="660865"/>
      </dsp:txXfrm>
    </dsp:sp>
    <dsp:sp modelId="{12985A5E-1A18-455A-99CD-E482E2ADF5F5}">
      <dsp:nvSpPr>
        <dsp:cNvPr id="0" name=""/>
        <dsp:cNvSpPr/>
      </dsp:nvSpPr>
      <dsp:spPr>
        <a:xfrm>
          <a:off x="4100177" y="827292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 err="1"/>
            <a:t>WebAPI</a:t>
          </a:r>
          <a:r>
            <a:rPr lang="en-US" sz="2200" kern="1200" noProof="0" dirty="0"/>
            <a:t> test module</a:t>
          </a:r>
          <a:endParaRPr lang="en-US" sz="2200" kern="1200" dirty="0"/>
        </a:p>
      </dsp:txBody>
      <dsp:txXfrm>
        <a:off x="4100177" y="827292"/>
        <a:ext cx="2167637" cy="660865"/>
      </dsp:txXfrm>
    </dsp:sp>
    <dsp:sp modelId="{0F9A4093-A706-4EF7-9166-6B4197BEDFEC}">
      <dsp:nvSpPr>
        <dsp:cNvPr id="0" name=""/>
        <dsp:cNvSpPr/>
      </dsp:nvSpPr>
      <dsp:spPr>
        <a:xfrm>
          <a:off x="4100177" y="1653373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/>
            <a:t>Security test module</a:t>
          </a:r>
          <a:endParaRPr lang="en-US" sz="2200" kern="1200" dirty="0"/>
        </a:p>
      </dsp:txBody>
      <dsp:txXfrm>
        <a:off x="4100177" y="1653373"/>
        <a:ext cx="2167637" cy="660865"/>
      </dsp:txXfrm>
    </dsp:sp>
    <dsp:sp modelId="{CDEF24C7-E992-40CC-A594-215235EFF130}">
      <dsp:nvSpPr>
        <dsp:cNvPr id="0" name=""/>
        <dsp:cNvSpPr/>
      </dsp:nvSpPr>
      <dsp:spPr>
        <a:xfrm>
          <a:off x="4100177" y="2479455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/>
            <a:t>Database test module</a:t>
          </a:r>
          <a:endParaRPr lang="en-US" sz="2200" kern="1200" dirty="0"/>
        </a:p>
      </dsp:txBody>
      <dsp:txXfrm>
        <a:off x="4100177" y="2479455"/>
        <a:ext cx="2167637" cy="660865"/>
      </dsp:txXfrm>
    </dsp:sp>
    <dsp:sp modelId="{1A7037C3-0CE3-40E4-AC30-C025DBE4DD9E}">
      <dsp:nvSpPr>
        <dsp:cNvPr id="0" name=""/>
        <dsp:cNvSpPr/>
      </dsp:nvSpPr>
      <dsp:spPr>
        <a:xfrm>
          <a:off x="4100177" y="3305536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/>
            <a:t>Mobile App test module *</a:t>
          </a:r>
          <a:endParaRPr lang="en-US" sz="2200" kern="1200" dirty="0"/>
        </a:p>
      </dsp:txBody>
      <dsp:txXfrm>
        <a:off x="4100177" y="3305536"/>
        <a:ext cx="2167637" cy="660865"/>
      </dsp:txXfrm>
    </dsp:sp>
    <dsp:sp modelId="{9472C209-8B78-4B3F-8C18-E09400E9885B}">
      <dsp:nvSpPr>
        <dsp:cNvPr id="0" name=""/>
        <dsp:cNvSpPr/>
      </dsp:nvSpPr>
      <dsp:spPr>
        <a:xfrm>
          <a:off x="4100177" y="4131617"/>
          <a:ext cx="2167637" cy="66086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/>
            <a:t>Standalone app test module *</a:t>
          </a:r>
          <a:endParaRPr lang="en-US" sz="2200" kern="1200" dirty="0"/>
        </a:p>
      </dsp:txBody>
      <dsp:txXfrm>
        <a:off x="4100177" y="4131617"/>
        <a:ext cx="2167637" cy="6608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diagrams.loki3.com/VaryingWidthList">
  <dgm:title val="Varying Width List"/>
  <dgm:desc val="Use for emphasizing items of different weights.  Good for large amounts of Level 1 text.  The width of each shape is independently determined based on its text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GLOBAL TEMPLATE_3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63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2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75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The average level of automation for test activities is around 16%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251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45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317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485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9698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4025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548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9002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58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6994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xfrm>
            <a:off x="3906093" y="0"/>
            <a:ext cx="2988417" cy="501650"/>
          </a:xfrm>
          <a:prstGeom prst="rect">
            <a:avLst/>
          </a:prstGeom>
          <a:ln/>
        </p:spPr>
        <p:txBody>
          <a:bodyPr lIns="91495" tIns="45748" rIns="91495" bIns="45748"/>
          <a:lstStyle/>
          <a:p>
            <a:r>
              <a:rPr lang="de-DE"/>
              <a:t>© 2008 Capgemini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74D465-847B-45BB-9040-78BE35A16A48}" type="slidenum">
              <a:rPr lang="de-DE"/>
              <a:pPr/>
              <a:t>41</a:t>
            </a:fld>
            <a:endParaRPr lang="de-DE"/>
          </a:p>
        </p:txBody>
      </p:sp>
      <p:sp>
        <p:nvSpPr>
          <p:cNvPr id="942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50863" y="627063"/>
            <a:ext cx="5794375" cy="4013200"/>
          </a:xfrm>
          <a:ln/>
        </p:spPr>
      </p:sp>
      <p:sp>
        <p:nvSpPr>
          <p:cNvPr id="942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2584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Let accept what was already created and enhance it into new unknown  so exciting and marvelous direction. </a:t>
            </a:r>
          </a:p>
          <a:p>
            <a:r>
              <a:rPr lang="en-US" noProof="0" dirty="0"/>
              <a:t>Shall we ? </a:t>
            </a:r>
          </a:p>
          <a:p>
            <a:endParaRPr lang="en-US" noProof="0" dirty="0"/>
          </a:p>
          <a:p>
            <a:endParaRPr lang="en-US" noProof="0" dirty="0"/>
          </a:p>
          <a:p>
            <a:r>
              <a:rPr lang="pl-PL" noProof="0" dirty="0"/>
              <a:t>P.S.</a:t>
            </a:r>
            <a:r>
              <a:rPr lang="pl-PL" baseline="0" noProof="0" dirty="0"/>
              <a:t> </a:t>
            </a:r>
            <a:r>
              <a:rPr lang="en-US" noProof="0" dirty="0"/>
              <a:t>Christ</a:t>
            </a:r>
            <a:r>
              <a:rPr lang="pl-PL" noProof="0" dirty="0"/>
              <a:t>o</a:t>
            </a:r>
            <a:r>
              <a:rPr lang="en-US" noProof="0" dirty="0" err="1"/>
              <a:t>pher</a:t>
            </a:r>
            <a:r>
              <a:rPr lang="en-US" noProof="0" dirty="0"/>
              <a:t> till the end of his life believed he has reach</a:t>
            </a:r>
            <a:r>
              <a:rPr lang="pl-PL" noProof="0" dirty="0" err="1"/>
              <a:t>ed</a:t>
            </a:r>
            <a:r>
              <a:rPr lang="en-US" noProof="0" dirty="0"/>
              <a:t> As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200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82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68942" fontAlgn="base">
              <a:spcBef>
                <a:spcPct val="0"/>
              </a:spcBef>
              <a:spcAft>
                <a:spcPct val="0"/>
              </a:spcAft>
            </a:pPr>
            <a:fld id="{8E9AE517-C9E3-4406-9863-D24EDF8A5457}" type="slidenum">
              <a:rPr lang="en-US"/>
              <a:pPr defTabSz="968942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499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xfrm>
            <a:off x="3906093" y="0"/>
            <a:ext cx="2988417" cy="501650"/>
          </a:xfrm>
          <a:prstGeom prst="rect">
            <a:avLst/>
          </a:prstGeom>
          <a:ln/>
        </p:spPr>
        <p:txBody>
          <a:bodyPr lIns="91495" tIns="45748" rIns="91495" bIns="45748"/>
          <a:lstStyle/>
          <a:p>
            <a:r>
              <a:rPr lang="de-DE"/>
              <a:t>© 2008 Capgemini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74D465-847B-45BB-9040-78BE35A16A48}" type="slidenum">
              <a:rPr lang="de-DE"/>
              <a:pPr/>
              <a:t>4</a:t>
            </a:fld>
            <a:endParaRPr lang="de-DE"/>
          </a:p>
        </p:txBody>
      </p:sp>
      <p:sp>
        <p:nvSpPr>
          <p:cNvPr id="942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50863" y="627063"/>
            <a:ext cx="5794375" cy="4013200"/>
          </a:xfrm>
          <a:ln/>
        </p:spPr>
      </p:sp>
      <p:sp>
        <p:nvSpPr>
          <p:cNvPr id="942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1788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401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850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6826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73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475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4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1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3.xml"/><Relationship Id="rId11" Type="http://schemas.openxmlformats.org/officeDocument/2006/relationships/image" Target="../media/image1.emf"/><Relationship Id="rId5" Type="http://schemas.openxmlformats.org/officeDocument/2006/relationships/tags" Target="../tags/tag5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7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5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9.xml"/><Relationship Id="rId7" Type="http://schemas.openxmlformats.org/officeDocument/2006/relationships/oleObject" Target="../embeddings/oleObject20.bin"/><Relationship Id="rId2" Type="http://schemas.openxmlformats.org/officeDocument/2006/relationships/tags" Target="../tags/tag7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4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0.xml"/><Relationship Id="rId10" Type="http://schemas.openxmlformats.org/officeDocument/2006/relationships/image" Target="../media/image5.jpeg"/><Relationship Id="rId4" Type="http://schemas.openxmlformats.org/officeDocument/2006/relationships/tags" Target="../tags/tag19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gi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41831" y="6427223"/>
            <a:ext cx="2660643" cy="195814"/>
          </a:xfrm>
          <a:prstGeom prst="rect">
            <a:avLst/>
          </a:prstGeom>
        </p:spPr>
        <p:txBody>
          <a:bodyPr/>
          <a:lstStyle/>
          <a:p>
            <a:r>
              <a:rPr lang="de-DE"/>
              <a:t>Copyright © Capgemini 2014. All Rights Reserved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E2E Test Framework for DevOps &amp; Smart Automation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60277" y="6653996"/>
            <a:ext cx="125034" cy="123111"/>
          </a:xfrm>
          <a:prstGeom prst="rect">
            <a:avLst/>
          </a:prstGeom>
        </p:spPr>
        <p:txBody>
          <a:bodyPr/>
          <a:lstStyle/>
          <a:p>
            <a:fld id="{C6335B9B-6596-4424-8C92-49633734BE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580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5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6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5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6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4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6741831" y="6427223"/>
            <a:ext cx="2660643" cy="195814"/>
          </a:xfrm>
          <a:prstGeom prst="rect">
            <a:avLst/>
          </a:prstGeom>
        </p:spPr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>
          <a:xfrm>
            <a:off x="9560277" y="6653996"/>
            <a:ext cx="125034" cy="123111"/>
          </a:xfrm>
          <a:prstGeom prst="rect">
            <a:avLst/>
          </a:prstGeom>
        </p:spPr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E2E Test Framework for DevOps &amp; Smart Automation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670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6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3" y="4609876"/>
            <a:ext cx="4569047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2E Test Framework for DevOps &amp; Smart Automation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gi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8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44.xml"/><Relationship Id="rId17" Type="http://schemas.openxmlformats.org/officeDocument/2006/relationships/oleObject" Target="../embeddings/oleObject12.bin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8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2.gif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3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7.xml"/><Relationship Id="rId23" Type="http://schemas.openxmlformats.org/officeDocument/2006/relationships/image" Target="../media/image9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42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1.png"/><Relationship Id="rId30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18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73.xml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4" cstate="print"/>
          <a:stretch>
            <a:fillRect/>
          </a:stretch>
        </p:blipFill>
        <p:spPr>
          <a:xfrm>
            <a:off x="158969" y="6443186"/>
            <a:ext cx="1386154" cy="32068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4. All Rights Reserved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E2E Test Framework for DevOps &amp; Smart Automation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/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/>
              <a:t>Capgemini</a:t>
            </a:r>
            <a:r>
              <a:rPr lang="en-US" dirty="0"/>
              <a:t> Global V7.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  <p:sldLayoutId id="2147483974" r:id="rId11"/>
  </p:sldLayoutIdLst>
  <p:hf sldNum="0" hdr="0" ftr="0" dt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9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sldNum="0" hdr="0" ftr="0" dt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  <p:sldLayoutId id="2147483975" r:id="rId3"/>
  </p:sldLayoutIdLst>
  <p:hf sldNum="0" hdr="0" ftr="0" dt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23.jpe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Layout" Target="../diagrams/layout13.xml"/><Relationship Id="rId7" Type="http://schemas.openxmlformats.org/officeDocument/2006/relationships/image" Target="../media/image24.png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Relationship Id="rId9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47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oleObject" Target="../embeddings/oleObject2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31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5.xml"/><Relationship Id="rId11" Type="http://schemas.openxmlformats.org/officeDocument/2006/relationships/image" Target="../media/image30.png"/><Relationship Id="rId5" Type="http://schemas.openxmlformats.org/officeDocument/2006/relationships/tags" Target="../tags/tag154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53.xml"/><Relationship Id="rId9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image" Target="../media/image32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1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0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159.xml"/><Relationship Id="rId9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image" Target="../media/image33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68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67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166.xml"/><Relationship Id="rId9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5.xml"/><Relationship Id="rId11" Type="http://schemas.openxmlformats.org/officeDocument/2006/relationships/hyperlink" Target="http://demoqa.dev.com/" TargetMode="External"/><Relationship Id="rId5" Type="http://schemas.openxmlformats.org/officeDocument/2006/relationships/tags" Target="../tags/tag17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73.xml"/><Relationship Id="rId9" Type="http://schemas.openxmlformats.org/officeDocument/2006/relationships/notesSlide" Target="../notesSlides/notesSlide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8.xml"/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12" Type="http://schemas.microsoft.com/office/2007/relationships/diagramDrawing" Target="../diagrams/drawing1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7.xml"/><Relationship Id="rId11" Type="http://schemas.openxmlformats.org/officeDocument/2006/relationships/diagramColors" Target="../diagrams/colors18.xml"/><Relationship Id="rId5" Type="http://schemas.openxmlformats.org/officeDocument/2006/relationships/diagramQuickStyle" Target="../diagrams/quickStyle17.xml"/><Relationship Id="rId10" Type="http://schemas.openxmlformats.org/officeDocument/2006/relationships/diagramQuickStyle" Target="../diagrams/quickStyle18.xml"/><Relationship Id="rId4" Type="http://schemas.openxmlformats.org/officeDocument/2006/relationships/diagramLayout" Target="../diagrams/layout17.xml"/><Relationship Id="rId9" Type="http://schemas.openxmlformats.org/officeDocument/2006/relationships/diagramLayout" Target="../diagrams/layout1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41.png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40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1.xml"/><Relationship Id="rId11" Type="http://schemas.openxmlformats.org/officeDocument/2006/relationships/image" Target="../media/image39.png"/><Relationship Id="rId5" Type="http://schemas.openxmlformats.org/officeDocument/2006/relationships/tags" Target="../tags/tag180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79.xml"/><Relationship Id="rId9" Type="http://schemas.openxmlformats.org/officeDocument/2006/relationships/notesSlide" Target="../notesSlides/notesSlide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87.xml"/><Relationship Id="rId11" Type="http://schemas.openxmlformats.org/officeDocument/2006/relationships/image" Target="../media/image42.png"/><Relationship Id="rId5" Type="http://schemas.openxmlformats.org/officeDocument/2006/relationships/tags" Target="../tags/tag186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85.xml"/><Relationship Id="rId9" Type="http://schemas.openxmlformats.org/officeDocument/2006/relationships/notesSlide" Target="../notesSlides/notesSlide1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4.xml"/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12" Type="http://schemas.microsoft.com/office/2007/relationships/diagramDrawing" Target="../diagrams/drawing2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3.xml"/><Relationship Id="rId11" Type="http://schemas.openxmlformats.org/officeDocument/2006/relationships/diagramColors" Target="../diagrams/colors24.xml"/><Relationship Id="rId5" Type="http://schemas.openxmlformats.org/officeDocument/2006/relationships/diagramQuickStyle" Target="../diagrams/quickStyle23.xml"/><Relationship Id="rId10" Type="http://schemas.openxmlformats.org/officeDocument/2006/relationships/diagramQuickStyle" Target="../diagrams/quickStyle24.xml"/><Relationship Id="rId4" Type="http://schemas.openxmlformats.org/officeDocument/2006/relationships/diagramLayout" Target="../diagrams/layout23.xml"/><Relationship Id="rId9" Type="http://schemas.openxmlformats.org/officeDocument/2006/relationships/diagramLayout" Target="../diagrams/layout24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5.xml"/><Relationship Id="rId3" Type="http://schemas.openxmlformats.org/officeDocument/2006/relationships/image" Target="../media/image44.png"/><Relationship Id="rId7" Type="http://schemas.openxmlformats.org/officeDocument/2006/relationships/diagramColors" Target="../diagrams/colors25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25.xml"/><Relationship Id="rId5" Type="http://schemas.openxmlformats.org/officeDocument/2006/relationships/diagramLayout" Target="../diagrams/layout25.xml"/><Relationship Id="rId4" Type="http://schemas.openxmlformats.org/officeDocument/2006/relationships/diagramData" Target="../diagrams/data25.xml"/><Relationship Id="rId9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6.xml"/><Relationship Id="rId3" Type="http://schemas.openxmlformats.org/officeDocument/2006/relationships/image" Target="../media/image46.png"/><Relationship Id="rId7" Type="http://schemas.openxmlformats.org/officeDocument/2006/relationships/diagramColors" Target="../diagrams/colors26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26.xml"/><Relationship Id="rId5" Type="http://schemas.openxmlformats.org/officeDocument/2006/relationships/diagramLayout" Target="../diagrams/layout26.xml"/><Relationship Id="rId4" Type="http://schemas.openxmlformats.org/officeDocument/2006/relationships/diagramData" Target="../diagrams/data26.xml"/><Relationship Id="rId9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8.xml"/><Relationship Id="rId3" Type="http://schemas.openxmlformats.org/officeDocument/2006/relationships/diagramData" Target="../diagrams/data27.xml"/><Relationship Id="rId7" Type="http://schemas.microsoft.com/office/2007/relationships/diagramDrawing" Target="../diagrams/drawing27.xml"/><Relationship Id="rId12" Type="http://schemas.microsoft.com/office/2007/relationships/diagramDrawing" Target="../diagrams/drawing2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7.xml"/><Relationship Id="rId11" Type="http://schemas.openxmlformats.org/officeDocument/2006/relationships/diagramColors" Target="../diagrams/colors28.xml"/><Relationship Id="rId5" Type="http://schemas.openxmlformats.org/officeDocument/2006/relationships/diagramQuickStyle" Target="../diagrams/quickStyle27.xml"/><Relationship Id="rId10" Type="http://schemas.openxmlformats.org/officeDocument/2006/relationships/diagramQuickStyle" Target="../diagrams/quickStyle28.xml"/><Relationship Id="rId4" Type="http://schemas.openxmlformats.org/officeDocument/2006/relationships/diagramLayout" Target="../diagrams/layout27.xml"/><Relationship Id="rId9" Type="http://schemas.openxmlformats.org/officeDocument/2006/relationships/diagramLayout" Target="../diagrams/layout2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Layout" Target="../diagrams/layout29.xml"/><Relationship Id="rId7" Type="http://schemas.openxmlformats.org/officeDocument/2006/relationships/image" Target="../media/image47.png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0.xml"/><Relationship Id="rId13" Type="http://schemas.openxmlformats.org/officeDocument/2006/relationships/image" Target="../media/image53.jpeg"/><Relationship Id="rId3" Type="http://schemas.openxmlformats.org/officeDocument/2006/relationships/image" Target="../media/image49.png"/><Relationship Id="rId7" Type="http://schemas.openxmlformats.org/officeDocument/2006/relationships/diagramLayout" Target="../diagrams/layout30.xml"/><Relationship Id="rId12" Type="http://schemas.openxmlformats.org/officeDocument/2006/relationships/image" Target="../media/image2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Relationship Id="rId6" Type="http://schemas.openxmlformats.org/officeDocument/2006/relationships/diagramData" Target="../diagrams/data30.xml"/><Relationship Id="rId11" Type="http://schemas.openxmlformats.org/officeDocument/2006/relationships/image" Target="../media/image52.png"/><Relationship Id="rId5" Type="http://schemas.openxmlformats.org/officeDocument/2006/relationships/image" Target="../media/image51.jpeg"/><Relationship Id="rId10" Type="http://schemas.microsoft.com/office/2007/relationships/diagramDrawing" Target="../diagrams/drawing30.xml"/><Relationship Id="rId4" Type="http://schemas.openxmlformats.org/officeDocument/2006/relationships/image" Target="../media/image50.jpeg"/><Relationship Id="rId9" Type="http://schemas.openxmlformats.org/officeDocument/2006/relationships/diagramColors" Target="../diagrams/colors30.xml"/><Relationship Id="rId14" Type="http://schemas.openxmlformats.org/officeDocument/2006/relationships/image" Target="../media/image5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Data" Target="../diagrams/data31.xml"/><Relationship Id="rId7" Type="http://schemas.microsoft.com/office/2007/relationships/diagramDrawing" Target="../diagrams/drawing3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1.xml"/><Relationship Id="rId5" Type="http://schemas.openxmlformats.org/officeDocument/2006/relationships/diagramQuickStyle" Target="../diagrams/quickStyle31.xml"/><Relationship Id="rId4" Type="http://schemas.openxmlformats.org/officeDocument/2006/relationships/diagramLayout" Target="../diagrams/layout31.xml"/><Relationship Id="rId9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Layout" Target="../diagrams/layout32.xml"/><Relationship Id="rId7" Type="http://schemas.openxmlformats.org/officeDocument/2006/relationships/image" Target="../media/image55.png"/><Relationship Id="rId2" Type="http://schemas.openxmlformats.org/officeDocument/2006/relationships/diagramData" Target="../diagrams/data3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32.xml"/><Relationship Id="rId5" Type="http://schemas.openxmlformats.org/officeDocument/2006/relationships/diagramColors" Target="../diagrams/colors32.xml"/><Relationship Id="rId4" Type="http://schemas.openxmlformats.org/officeDocument/2006/relationships/diagramQuickStyle" Target="../diagrams/quickStyle3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diagramData" Target="../diagrams/data33.xml"/><Relationship Id="rId7" Type="http://schemas.microsoft.com/office/2007/relationships/diagramDrawing" Target="../diagrams/drawing33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3.xml"/><Relationship Id="rId5" Type="http://schemas.openxmlformats.org/officeDocument/2006/relationships/diagramQuickStyle" Target="../diagrams/quickStyle33.xml"/><Relationship Id="rId4" Type="http://schemas.openxmlformats.org/officeDocument/2006/relationships/diagramLayout" Target="../diagrams/layout33.xml"/><Relationship Id="rId9" Type="http://schemas.openxmlformats.org/officeDocument/2006/relationships/image" Target="../media/image5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diagramData" Target="../diagrams/data1.xml"/><Relationship Id="rId18" Type="http://schemas.openxmlformats.org/officeDocument/2006/relationships/diagramData" Target="../diagrams/data2.xml"/><Relationship Id="rId26" Type="http://schemas.openxmlformats.org/officeDocument/2006/relationships/image" Target="../media/image20.png"/><Relationship Id="rId3" Type="http://schemas.openxmlformats.org/officeDocument/2006/relationships/tags" Target="../tags/tag85.xml"/><Relationship Id="rId21" Type="http://schemas.openxmlformats.org/officeDocument/2006/relationships/diagramColors" Target="../diagrams/colors2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22.bin"/><Relationship Id="rId17" Type="http://schemas.microsoft.com/office/2007/relationships/diagramDrawing" Target="../diagrams/drawing1.xml"/><Relationship Id="rId25" Type="http://schemas.openxmlformats.org/officeDocument/2006/relationships/image" Target="../media/image19.png"/><Relationship Id="rId2" Type="http://schemas.openxmlformats.org/officeDocument/2006/relationships/tags" Target="../tags/tag84.xml"/><Relationship Id="rId16" Type="http://schemas.openxmlformats.org/officeDocument/2006/relationships/diagramColors" Target="../diagrams/colors1.xml"/><Relationship Id="rId20" Type="http://schemas.openxmlformats.org/officeDocument/2006/relationships/diagramQuickStyle" Target="../diagrams/quickStyle2.xml"/><Relationship Id="rId1" Type="http://schemas.openxmlformats.org/officeDocument/2006/relationships/vmlDrawing" Target="../drawings/vmlDrawing22.vml"/><Relationship Id="rId6" Type="http://schemas.openxmlformats.org/officeDocument/2006/relationships/tags" Target="../tags/tag88.xml"/><Relationship Id="rId11" Type="http://schemas.openxmlformats.org/officeDocument/2006/relationships/notesSlide" Target="../notesSlides/notesSlide4.xml"/><Relationship Id="rId24" Type="http://schemas.openxmlformats.org/officeDocument/2006/relationships/image" Target="../media/image18.png"/><Relationship Id="rId5" Type="http://schemas.openxmlformats.org/officeDocument/2006/relationships/tags" Target="../tags/tag87.xml"/><Relationship Id="rId15" Type="http://schemas.openxmlformats.org/officeDocument/2006/relationships/diagramQuickStyle" Target="../diagrams/quickStyle1.xml"/><Relationship Id="rId23" Type="http://schemas.openxmlformats.org/officeDocument/2006/relationships/image" Target="../media/image17.png"/><Relationship Id="rId10" Type="http://schemas.openxmlformats.org/officeDocument/2006/relationships/slideLayout" Target="../slideLayouts/slideLayout8.xml"/><Relationship Id="rId19" Type="http://schemas.openxmlformats.org/officeDocument/2006/relationships/diagramLayout" Target="../diagrams/layout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diagramLayout" Target="../diagrams/layout1.xml"/><Relationship Id="rId22" Type="http://schemas.microsoft.com/office/2007/relationships/diagramDrawing" Target="../diagrams/drawing2.xml"/><Relationship Id="rId27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Layout" Target="../diagrams/layout34.xml"/><Relationship Id="rId7" Type="http://schemas.openxmlformats.org/officeDocument/2006/relationships/image" Target="../media/image57.gif"/><Relationship Id="rId2" Type="http://schemas.openxmlformats.org/officeDocument/2006/relationships/diagramData" Target="../diagrams/data34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34.xml"/><Relationship Id="rId5" Type="http://schemas.openxmlformats.org/officeDocument/2006/relationships/diagramColors" Target="../diagrams/colors34.xml"/><Relationship Id="rId4" Type="http://schemas.openxmlformats.org/officeDocument/2006/relationships/diagramQuickStyle" Target="../diagrams/quickStyle34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5.xml"/><Relationship Id="rId13" Type="http://schemas.openxmlformats.org/officeDocument/2006/relationships/diagramQuickStyle" Target="../diagrams/quickStyle36.xml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8.xml"/><Relationship Id="rId21" Type="http://schemas.openxmlformats.org/officeDocument/2006/relationships/diagramData" Target="../diagrams/data37.xml"/><Relationship Id="rId7" Type="http://schemas.openxmlformats.org/officeDocument/2006/relationships/diagramLayout" Target="../diagrams/layout35.xml"/><Relationship Id="rId12" Type="http://schemas.openxmlformats.org/officeDocument/2006/relationships/diagramLayout" Target="../diagrams/layout36.xml"/><Relationship Id="rId17" Type="http://schemas.openxmlformats.org/officeDocument/2006/relationships/image" Target="../media/image18.png"/><Relationship Id="rId25" Type="http://schemas.microsoft.com/office/2007/relationships/diagramDrawing" Target="../diagrams/drawing37.xml"/><Relationship Id="rId2" Type="http://schemas.openxmlformats.org/officeDocument/2006/relationships/tags" Target="../tags/tag189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vmlDrawing" Target="../drawings/vmlDrawing30.vml"/><Relationship Id="rId6" Type="http://schemas.openxmlformats.org/officeDocument/2006/relationships/diagramData" Target="../diagrams/data35.xml"/><Relationship Id="rId11" Type="http://schemas.openxmlformats.org/officeDocument/2006/relationships/diagramData" Target="../diagrams/data36.xml"/><Relationship Id="rId24" Type="http://schemas.openxmlformats.org/officeDocument/2006/relationships/diagramColors" Target="../diagrams/colors37.xml"/><Relationship Id="rId5" Type="http://schemas.openxmlformats.org/officeDocument/2006/relationships/oleObject" Target="../embeddings/oleObject30.bin"/><Relationship Id="rId15" Type="http://schemas.microsoft.com/office/2007/relationships/diagramDrawing" Target="../diagrams/drawing36.xml"/><Relationship Id="rId23" Type="http://schemas.openxmlformats.org/officeDocument/2006/relationships/diagramQuickStyle" Target="../diagrams/quickStyle37.xml"/><Relationship Id="rId10" Type="http://schemas.microsoft.com/office/2007/relationships/diagramDrawing" Target="../diagrams/drawing35.xml"/><Relationship Id="rId19" Type="http://schemas.openxmlformats.org/officeDocument/2006/relationships/image" Target="../media/image20.png"/><Relationship Id="rId4" Type="http://schemas.openxmlformats.org/officeDocument/2006/relationships/notesSlide" Target="../notesSlides/notesSlide19.xml"/><Relationship Id="rId9" Type="http://schemas.openxmlformats.org/officeDocument/2006/relationships/diagramColors" Target="../diagrams/colors35.xml"/><Relationship Id="rId14" Type="http://schemas.openxmlformats.org/officeDocument/2006/relationships/diagramColors" Target="../diagrams/colors36.xml"/><Relationship Id="rId22" Type="http://schemas.openxmlformats.org/officeDocument/2006/relationships/diagramLayout" Target="../diagrams/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2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tags" Target="../tags/tag130.xml"/><Relationship Id="rId21" Type="http://schemas.openxmlformats.org/officeDocument/2006/relationships/tags" Target="../tags/tag112.xml"/><Relationship Id="rId34" Type="http://schemas.openxmlformats.org/officeDocument/2006/relationships/tags" Target="../tags/tag125.xml"/><Relationship Id="rId42" Type="http://schemas.openxmlformats.org/officeDocument/2006/relationships/tags" Target="../tags/tag133.xml"/><Relationship Id="rId47" Type="http://schemas.openxmlformats.org/officeDocument/2006/relationships/tags" Target="../tags/tag138.xml"/><Relationship Id="rId50" Type="http://schemas.openxmlformats.org/officeDocument/2006/relationships/tags" Target="../tags/tag141.xml"/><Relationship Id="rId55" Type="http://schemas.openxmlformats.org/officeDocument/2006/relationships/slideLayout" Target="../slideLayouts/slideLayout6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tags" Target="../tags/tag124.xml"/><Relationship Id="rId38" Type="http://schemas.openxmlformats.org/officeDocument/2006/relationships/tags" Target="../tags/tag129.xml"/><Relationship Id="rId46" Type="http://schemas.openxmlformats.org/officeDocument/2006/relationships/tags" Target="../tags/tag137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tags" Target="../tags/tag120.xml"/><Relationship Id="rId41" Type="http://schemas.openxmlformats.org/officeDocument/2006/relationships/tags" Target="../tags/tag132.xml"/><Relationship Id="rId54" Type="http://schemas.openxmlformats.org/officeDocument/2006/relationships/tags" Target="../tags/tag145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tags" Target="../tags/tag123.xml"/><Relationship Id="rId37" Type="http://schemas.openxmlformats.org/officeDocument/2006/relationships/tags" Target="../tags/tag128.xml"/><Relationship Id="rId40" Type="http://schemas.openxmlformats.org/officeDocument/2006/relationships/tags" Target="../tags/tag131.xml"/><Relationship Id="rId45" Type="http://schemas.openxmlformats.org/officeDocument/2006/relationships/tags" Target="../tags/tag136.xml"/><Relationship Id="rId53" Type="http://schemas.openxmlformats.org/officeDocument/2006/relationships/tags" Target="../tags/tag144.xm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tags" Target="../tags/tag127.xml"/><Relationship Id="rId49" Type="http://schemas.openxmlformats.org/officeDocument/2006/relationships/tags" Target="../tags/tag140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tags" Target="../tags/tag122.xml"/><Relationship Id="rId44" Type="http://schemas.openxmlformats.org/officeDocument/2006/relationships/tags" Target="../tags/tag135.xml"/><Relationship Id="rId52" Type="http://schemas.openxmlformats.org/officeDocument/2006/relationships/tags" Target="../tags/tag143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tags" Target="../tags/tag121.xml"/><Relationship Id="rId35" Type="http://schemas.openxmlformats.org/officeDocument/2006/relationships/tags" Target="../tags/tag126.xml"/><Relationship Id="rId43" Type="http://schemas.openxmlformats.org/officeDocument/2006/relationships/tags" Target="../tags/tag134.xml"/><Relationship Id="rId48" Type="http://schemas.openxmlformats.org/officeDocument/2006/relationships/tags" Target="../tags/tag139.xml"/><Relationship Id="rId56" Type="http://schemas.openxmlformats.org/officeDocument/2006/relationships/notesSlide" Target="../notesSlides/notesSlide6.xml"/><Relationship Id="rId8" Type="http://schemas.openxmlformats.org/officeDocument/2006/relationships/tags" Target="../tags/tag99.xml"/><Relationship Id="rId51" Type="http://schemas.openxmlformats.org/officeDocument/2006/relationships/tags" Target="../tags/tag142.xml"/><Relationship Id="rId3" Type="http://schemas.openxmlformats.org/officeDocument/2006/relationships/tags" Target="../tags/tag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9806923-8582-4914-AB3D-507F96A10F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9909" y="764630"/>
            <a:ext cx="2506182" cy="35284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6118DB6-0682-42F0-AE6B-B8CAC92D43F7}"/>
              </a:ext>
            </a:extLst>
          </p:cNvPr>
          <p:cNvSpPr txBox="1"/>
          <p:nvPr/>
        </p:nvSpPr>
        <p:spPr>
          <a:xfrm>
            <a:off x="2216620" y="4437140"/>
            <a:ext cx="5998758" cy="14219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9600" dirty="0"/>
              <a:t>2 out of 10</a:t>
            </a:r>
            <a:endParaRPr lang="de-DE" sz="96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akeaway</a:t>
            </a:r>
            <a:r>
              <a:rPr lang="pl-PL" dirty="0"/>
              <a:t>s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58432996"/>
              </p:ext>
            </p:extLst>
          </p:nvPr>
        </p:nvGraphicFramePr>
        <p:xfrm>
          <a:off x="-375740" y="1556740"/>
          <a:ext cx="5832810" cy="44646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95588" name="Picture 4" descr="Znalezione obrazy dla zapytania christopher columbus fla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664960" y="3164224"/>
            <a:ext cx="4841521" cy="3073166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F649BE-8B99-460C-A751-635117D8C6B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700" t="30312" r="21697" b="32500"/>
          <a:stretch/>
        </p:blipFill>
        <p:spPr>
          <a:xfrm>
            <a:off x="6393200" y="1556740"/>
            <a:ext cx="3312460" cy="1224171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r Checker</a:t>
            </a:r>
            <a:r>
              <a:rPr lang="en-US" dirty="0"/>
              <a:t> </a:t>
            </a:r>
            <a:r>
              <a:rPr lang="pl-PL" dirty="0"/>
              <a:t>E2E test </a:t>
            </a:r>
            <a:r>
              <a:rPr lang="en-US" dirty="0"/>
              <a:t>framework module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pl-PL" sz="2500" b="1" dirty="0"/>
              <a:t>Mr Checker </a:t>
            </a:r>
            <a:r>
              <a:rPr lang="en-US" sz="2500" b="1" dirty="0"/>
              <a:t>E2E Test Framework modules</a:t>
            </a:r>
            <a:br>
              <a:rPr lang="pl-PL" sz="2500" b="1" dirty="0"/>
            </a:br>
            <a:r>
              <a:rPr lang="pl-PL" sz="2500" b="1" dirty="0"/>
              <a:t>Overview status</a:t>
            </a:r>
            <a:endParaRPr lang="en-US" sz="2500" b="1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197861648"/>
              </p:ext>
            </p:extLst>
          </p:nvPr>
        </p:nvGraphicFramePr>
        <p:xfrm>
          <a:off x="-2464030" y="1340710"/>
          <a:ext cx="9273600" cy="47936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584137" y="6329862"/>
            <a:ext cx="1140056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*)  - planned 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456410851"/>
              </p:ext>
            </p:extLst>
          </p:nvPr>
        </p:nvGraphicFramePr>
        <p:xfrm>
          <a:off x="3944860" y="1536223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TextBox 9"/>
          <p:cNvSpPr txBox="1"/>
          <p:nvPr/>
        </p:nvSpPr>
        <p:spPr>
          <a:xfrm rot="1806885">
            <a:off x="322298" y="1758254"/>
            <a:ext cx="1212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00B050"/>
                </a:solidFill>
                <a:latin typeface="Rockwell Extra Bold" panose="02060903040505020403" pitchFamily="18" charset="0"/>
              </a:rPr>
              <a:t>DONE</a:t>
            </a:r>
            <a:endParaRPr lang="en-US" sz="2400" dirty="0">
              <a:ln>
                <a:solidFill>
                  <a:schemeClr val="tx1"/>
                </a:solidFill>
              </a:ln>
              <a:solidFill>
                <a:srgbClr val="00B05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806885">
            <a:off x="2970725" y="1253611"/>
            <a:ext cx="1212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00B050"/>
                </a:solidFill>
                <a:latin typeface="Rockwell Extra Bold" panose="02060903040505020403" pitchFamily="18" charset="0"/>
              </a:rPr>
              <a:t>DONE</a:t>
            </a:r>
            <a:endParaRPr lang="en-US" sz="2400" dirty="0">
              <a:ln>
                <a:solidFill>
                  <a:schemeClr val="tx1"/>
                </a:solidFill>
              </a:ln>
              <a:solidFill>
                <a:srgbClr val="00B05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806885">
            <a:off x="8299465" y="2045721"/>
            <a:ext cx="1212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00B050"/>
                </a:solidFill>
                <a:latin typeface="Rockwell Extra Bold" panose="02060903040505020403" pitchFamily="18" charset="0"/>
              </a:rPr>
              <a:t>DONE</a:t>
            </a:r>
            <a:endParaRPr lang="en-US" sz="2400" dirty="0">
              <a:ln>
                <a:solidFill>
                  <a:schemeClr val="tx1"/>
                </a:solidFill>
              </a:ln>
              <a:solidFill>
                <a:srgbClr val="00B05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 rot="1806885">
            <a:off x="3036250" y="2209631"/>
            <a:ext cx="19422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ONGOING</a:t>
            </a:r>
          </a:p>
          <a:p>
            <a:pPr algn="ctr"/>
            <a:r>
              <a:rPr lang="pl-PL" sz="16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Q2 2018</a:t>
            </a:r>
            <a:endParaRPr lang="en-US" sz="1600" dirty="0">
              <a:ln>
                <a:solidFill>
                  <a:schemeClr val="tx1"/>
                </a:solidFill>
              </a:ln>
              <a:solidFill>
                <a:srgbClr val="FFC00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 rot="1806885">
            <a:off x="2932719" y="3012633"/>
            <a:ext cx="18988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ONGOING</a:t>
            </a:r>
          </a:p>
          <a:p>
            <a:pPr algn="ctr"/>
            <a:r>
              <a:rPr lang="pl-PL" sz="16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Q2 2018</a:t>
            </a:r>
            <a:endParaRPr lang="en-US" sz="1600" dirty="0">
              <a:ln>
                <a:solidFill>
                  <a:schemeClr val="tx1"/>
                </a:solidFill>
              </a:ln>
              <a:solidFill>
                <a:srgbClr val="FFC00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rot="1806885">
            <a:off x="2971037" y="3867689"/>
            <a:ext cx="19349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ONGOING</a:t>
            </a:r>
          </a:p>
          <a:p>
            <a:pPr algn="ctr"/>
            <a:r>
              <a:rPr lang="pl-PL" sz="1600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  <a:latin typeface="Rockwell Extra Bold" panose="02060903040505020403" pitchFamily="18" charset="0"/>
              </a:rPr>
              <a:t>Q3 2018</a:t>
            </a:r>
            <a:endParaRPr lang="en-US" sz="1600" dirty="0">
              <a:ln>
                <a:solidFill>
                  <a:schemeClr val="tx1"/>
                </a:solidFill>
              </a:ln>
              <a:solidFill>
                <a:srgbClr val="FFC000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4B019E-E0D7-4CD6-87BF-DF42516C4EA7}"/>
              </a:ext>
            </a:extLst>
          </p:cNvPr>
          <p:cNvSpPr txBox="1"/>
          <p:nvPr/>
        </p:nvSpPr>
        <p:spPr>
          <a:xfrm rot="1806885">
            <a:off x="8451865" y="3198454"/>
            <a:ext cx="12122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n>
                  <a:solidFill>
                    <a:schemeClr val="tx1"/>
                  </a:solidFill>
                </a:ln>
                <a:solidFill>
                  <a:srgbClr val="00B050"/>
                </a:solidFill>
                <a:latin typeface="Rockwell Extra Bold" panose="02060903040505020403" pitchFamily="18" charset="0"/>
              </a:rPr>
              <a:t>DONE</a:t>
            </a:r>
            <a:endParaRPr lang="en-US" sz="2400" dirty="0">
              <a:ln>
                <a:solidFill>
                  <a:schemeClr val="tx1"/>
                </a:solidFill>
              </a:ln>
              <a:solidFill>
                <a:srgbClr val="00B050"/>
              </a:solidFill>
              <a:latin typeface="Rockwell Extra Bold" panose="02060903040505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8202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  <a:br>
              <a:rPr lang="en-US" sz="2500" b="1" dirty="0"/>
            </a:br>
            <a:r>
              <a:rPr lang="en-US" sz="2500" b="1" dirty="0"/>
              <a:t>Test Core modul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556945" y="3645030"/>
            <a:ext cx="5004695" cy="2880400"/>
            <a:chOff x="704410" y="1628750"/>
            <a:chExt cx="8281150" cy="3816530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1407571427"/>
                </p:ext>
              </p:extLst>
            </p:nvPr>
          </p:nvGraphicFramePr>
          <p:xfrm>
            <a:off x="2504660" y="1628750"/>
            <a:ext cx="6480900" cy="37755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8" name="Diagram 7"/>
            <p:cNvGraphicFramePr/>
            <p:nvPr>
              <p:extLst>
                <p:ext uri="{D42A27DB-BD31-4B8C-83A1-F6EECF244321}">
                  <p14:modId xmlns:p14="http://schemas.microsoft.com/office/powerpoint/2010/main" val="2465301444"/>
                </p:ext>
              </p:extLst>
            </p:nvPr>
          </p:nvGraphicFramePr>
          <p:xfrm>
            <a:off x="704410" y="1628750"/>
            <a:ext cx="3008730" cy="38165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2942170-E7EB-45B7-A4D0-EBFE9AF1EDF8}"/>
              </a:ext>
            </a:extLst>
          </p:cNvPr>
          <p:cNvGrpSpPr/>
          <p:nvPr/>
        </p:nvGrpSpPr>
        <p:grpSpPr>
          <a:xfrm>
            <a:off x="1928580" y="1002134"/>
            <a:ext cx="1296180" cy="3218975"/>
            <a:chOff x="3395794" y="56252"/>
            <a:chExt cx="455643" cy="279161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C41D8DA-86BD-4431-8340-7E980FDFD201}"/>
                </a:ext>
              </a:extLst>
            </p:cNvPr>
            <p:cNvSpPr/>
            <p:nvPr/>
          </p:nvSpPr>
          <p:spPr>
            <a:xfrm>
              <a:off x="3395794" y="56252"/>
              <a:ext cx="455643" cy="2791612"/>
            </a:xfrm>
            <a:prstGeom prst="roundRect">
              <a:avLst>
                <a:gd name="adj" fmla="val 10000"/>
              </a:avLst>
            </a:prstGeom>
            <a:solidFill>
              <a:srgbClr val="0085B3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ctangle: Rounded Corners 4">
              <a:extLst>
                <a:ext uri="{FF2B5EF4-FFF2-40B4-BE49-F238E27FC236}">
                  <a16:creationId xmlns:a16="http://schemas.microsoft.com/office/drawing/2014/main" id="{787D9FCA-773A-4A30-AFFF-7CF838D1BE23}"/>
                </a:ext>
              </a:extLst>
            </p:cNvPr>
            <p:cNvSpPr txBox="1"/>
            <p:nvPr/>
          </p:nvSpPr>
          <p:spPr>
            <a:xfrm>
              <a:off x="3409139" y="69597"/>
              <a:ext cx="428953" cy="27649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Test core module</a:t>
              </a:r>
            </a:p>
          </p:txBody>
        </p:sp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1EB8341-C2F0-4DCD-B2AE-F4808A5766C7}"/>
              </a:ext>
            </a:extLst>
          </p:cNvPr>
          <p:cNvCxnSpPr/>
          <p:nvPr/>
        </p:nvCxnSpPr>
        <p:spPr>
          <a:xfrm flipH="1" flipV="1">
            <a:off x="3224760" y="2420860"/>
            <a:ext cx="6048840" cy="12241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056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2500" b="1" dirty="0"/>
              <a:t>Core functionality ingredient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4046623"/>
              </p:ext>
            </p:extLst>
          </p:nvPr>
        </p:nvGraphicFramePr>
        <p:xfrm>
          <a:off x="482435" y="1176823"/>
          <a:ext cx="89154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83298" name="Picture 2" descr="Znalezione obrazy dla zapytania core icon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329330" y="188550"/>
            <a:ext cx="720100" cy="720100"/>
          </a:xfrm>
          <a:prstGeom prst="rect">
            <a:avLst/>
          </a:prstGeom>
          <a:noFill/>
        </p:spPr>
      </p:pic>
      <p:pic>
        <p:nvPicPr>
          <p:cNvPr id="178178" name="Picture 2" descr="Podobny obraz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236910" y="232010"/>
            <a:ext cx="676640" cy="676640"/>
          </a:xfrm>
          <a:prstGeom prst="rect">
            <a:avLst/>
          </a:prstGeom>
          <a:noFill/>
        </p:spPr>
      </p:pic>
      <p:pic>
        <p:nvPicPr>
          <p:cNvPr id="8" name="Picture 4" descr="Znalezione obrazy dla zapytania java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787943" y="405980"/>
            <a:ext cx="3222613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Test Case – report</a:t>
            </a:r>
            <a:endParaRPr lang="en-US" sz="2800" dirty="0"/>
          </a:p>
        </p:txBody>
      </p:sp>
      <p:sp>
        <p:nvSpPr>
          <p:cNvPr id="11" name="Symbol zastępczy zawartości 2"/>
          <p:cNvSpPr txBox="1">
            <a:spLocks/>
          </p:cNvSpPr>
          <p:nvPr/>
        </p:nvSpPr>
        <p:spPr>
          <a:xfrm>
            <a:off x="632520" y="1772817"/>
            <a:ext cx="5822032" cy="39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57784" indent="-2286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1732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4592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2024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19456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68880" indent="-18288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Char char="0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  <a:buFont typeface="Wingdings"/>
              <a:buChar char="§"/>
            </a:pPr>
            <a:r>
              <a:rPr lang="en-US" sz="2000" dirty="0">
                <a:ea typeface="Roboto Condensed Light" panose="02000000000000000000" pitchFamily="2" charset="0"/>
              </a:rPr>
              <a:t>Daily test status control</a:t>
            </a:r>
          </a:p>
          <a:p>
            <a:pPr>
              <a:buClr>
                <a:schemeClr val="tx2"/>
              </a:buClr>
              <a:buFont typeface="Wingdings"/>
              <a:buChar char="§"/>
            </a:pPr>
            <a:r>
              <a:rPr lang="en-US" sz="2000" dirty="0">
                <a:ea typeface="Roboto Condensed Light" panose="02000000000000000000" pitchFamily="2" charset="0"/>
              </a:rPr>
              <a:t>Generating reports from </a:t>
            </a:r>
            <a:br>
              <a:rPr lang="en-US" sz="2000" dirty="0">
                <a:ea typeface="Roboto Condensed Light" panose="02000000000000000000" pitchFamily="2" charset="0"/>
              </a:rPr>
            </a:br>
            <a:r>
              <a:rPr lang="en-US" sz="2000" dirty="0">
                <a:ea typeface="Roboto Condensed Light" panose="02000000000000000000" pitchFamily="2" charset="0"/>
              </a:rPr>
              <a:t>executed test cases</a:t>
            </a:r>
          </a:p>
          <a:p>
            <a:pPr>
              <a:buClr>
                <a:schemeClr val="tx2"/>
              </a:buClr>
              <a:buFont typeface="Wingdings"/>
              <a:buChar char="§"/>
            </a:pPr>
            <a:r>
              <a:rPr lang="en-US" sz="2000" dirty="0">
                <a:ea typeface="Roboto Condensed Light" panose="02000000000000000000" pitchFamily="2" charset="0"/>
              </a:rPr>
              <a:t>Split tests status into: </a:t>
            </a:r>
            <a:br>
              <a:rPr lang="en-US" sz="2000" dirty="0">
                <a:ea typeface="Roboto Condensed Light" panose="02000000000000000000" pitchFamily="2" charset="0"/>
              </a:rPr>
            </a:br>
            <a:r>
              <a:rPr lang="en-US" sz="2000" dirty="0">
                <a:solidFill>
                  <a:srgbClr val="00B050"/>
                </a:solidFill>
                <a:ea typeface="Roboto Condensed Light" panose="02000000000000000000" pitchFamily="2" charset="0"/>
              </a:rPr>
              <a:t>Passed </a:t>
            </a:r>
            <a:r>
              <a:rPr lang="en-US" sz="2000" dirty="0">
                <a:ea typeface="Roboto Condensed Light" panose="02000000000000000000" pitchFamily="2" charset="0"/>
              </a:rPr>
              <a:t>/ </a:t>
            </a:r>
            <a:r>
              <a:rPr lang="en-US" sz="2000" dirty="0">
                <a:solidFill>
                  <a:srgbClr val="FF0000"/>
                </a:solidFill>
                <a:ea typeface="Roboto Condensed Light" panose="02000000000000000000" pitchFamily="2" charset="0"/>
              </a:rPr>
              <a:t>Failed </a:t>
            </a:r>
            <a:r>
              <a:rPr lang="en-US" sz="2000" dirty="0">
                <a:ea typeface="Roboto Condensed Light" panose="02000000000000000000" pitchFamily="2" charset="0"/>
              </a:rPr>
              <a:t>/ </a:t>
            </a:r>
            <a:r>
              <a:rPr lang="en-US" sz="2000" dirty="0">
                <a:solidFill>
                  <a:srgbClr val="00B0F0"/>
                </a:solidFill>
                <a:ea typeface="Roboto Condensed Light" panose="02000000000000000000" pitchFamily="2" charset="0"/>
              </a:rPr>
              <a:t>Ignore </a:t>
            </a:r>
            <a:r>
              <a:rPr lang="en-US" sz="2000" dirty="0">
                <a:ea typeface="Roboto Condensed Light" panose="02000000000000000000" pitchFamily="2" charset="0"/>
              </a:rPr>
              <a:t>/ </a:t>
            </a:r>
            <a:r>
              <a:rPr lang="en-US" sz="2000" dirty="0">
                <a:solidFill>
                  <a:srgbClr val="FFC000"/>
                </a:solidFill>
                <a:ea typeface="Roboto Condensed Light" panose="02000000000000000000" pitchFamily="2" charset="0"/>
              </a:rPr>
              <a:t>Broken </a:t>
            </a:r>
          </a:p>
        </p:txBody>
      </p:sp>
      <p:pic>
        <p:nvPicPr>
          <p:cNvPr id="13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9396" y="1268760"/>
            <a:ext cx="3642077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7124" y="4149080"/>
            <a:ext cx="3899852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40556" y="3257494"/>
            <a:ext cx="3360917" cy="2835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93127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Test Case – </a:t>
            </a:r>
            <a:r>
              <a:rPr lang="pl-PL" sz="2800" dirty="0">
                <a:latin typeface="+mj-lt"/>
                <a:ea typeface="+mj-ea"/>
                <a:cs typeface="+mj-cs"/>
              </a:rPr>
              <a:t>report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21803" y="2132820"/>
            <a:ext cx="871184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/>
              <a:t>&gt; </a:t>
            </a:r>
            <a:r>
              <a:rPr lang="de-DE" dirty="0"/>
              <a:t>mvn test allure:report -Dtest=TS_Tag1</a:t>
            </a:r>
            <a:endParaRPr lang="en-US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837521" y="1852108"/>
            <a:ext cx="1672253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dirty="0" err="1"/>
              <a:t>Command</a:t>
            </a:r>
            <a:r>
              <a:rPr lang="pl-PL" sz="1800" dirty="0"/>
              <a:t> </a:t>
            </a:r>
            <a:r>
              <a:rPr lang="pl-PL" sz="1800" dirty="0" err="1"/>
              <a:t>line</a:t>
            </a:r>
            <a:endParaRPr lang="en-US" sz="1800" dirty="0"/>
          </a:p>
        </p:txBody>
      </p:sp>
      <p:sp>
        <p:nvSpPr>
          <p:cNvPr id="17" name="TextBox 16"/>
          <p:cNvSpPr txBox="1"/>
          <p:nvPr/>
        </p:nvSpPr>
        <p:spPr>
          <a:xfrm>
            <a:off x="848430" y="2492870"/>
            <a:ext cx="77591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dirty="0"/>
              <a:t>Report folder (</a:t>
            </a:r>
            <a:r>
              <a:rPr lang="pl-PL" sz="1800" dirty="0" err="1"/>
              <a:t>open</a:t>
            </a:r>
            <a:r>
              <a:rPr lang="pl-PL" sz="1800" dirty="0"/>
              <a:t> by </a:t>
            </a:r>
            <a:r>
              <a:rPr lang="pl-PL" sz="1800" dirty="0" err="1"/>
              <a:t>firefox</a:t>
            </a:r>
            <a:r>
              <a:rPr lang="pl-PL" sz="1800" dirty="0"/>
              <a:t> </a:t>
            </a:r>
            <a:r>
              <a:rPr lang="pl-PL" sz="1800" dirty="0" err="1"/>
              <a:t>browser</a:t>
            </a:r>
            <a:r>
              <a:rPr lang="pl-PL" sz="1800" dirty="0"/>
              <a:t>):</a:t>
            </a:r>
          </a:p>
          <a:p>
            <a:pPr>
              <a:lnSpc>
                <a:spcPct val="90000"/>
              </a:lnSpc>
            </a:pPr>
            <a:r>
              <a:rPr lang="pl-PL" sz="1800" dirty="0"/>
              <a:t>.</a:t>
            </a:r>
            <a:r>
              <a:rPr lang="en-US" sz="1800" dirty="0"/>
              <a:t>\target\site\allure-maven-</a:t>
            </a:r>
            <a:r>
              <a:rPr lang="en-US" sz="1800" dirty="0" err="1"/>
              <a:t>plugin</a:t>
            </a:r>
            <a:r>
              <a:rPr lang="en-US" sz="1800" dirty="0"/>
              <a:t>\</a:t>
            </a:r>
            <a:r>
              <a:rPr lang="pl-PL" sz="1800" dirty="0" err="1"/>
              <a:t>index.html</a:t>
            </a:r>
            <a:endParaRPr lang="en-US" sz="1800" dirty="0"/>
          </a:p>
        </p:txBody>
      </p:sp>
      <p:sp>
        <p:nvSpPr>
          <p:cNvPr id="19" name="Rectangle 18"/>
          <p:cNvSpPr/>
          <p:nvPr/>
        </p:nvSpPr>
        <p:spPr>
          <a:xfrm>
            <a:off x="416370" y="1412720"/>
            <a:ext cx="2969083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reate report </a:t>
            </a:r>
            <a:r>
              <a:rPr lang="pl-PL" dirty="0"/>
              <a:t>as </a:t>
            </a:r>
            <a:r>
              <a:rPr lang="pl-PL" dirty="0" err="1"/>
              <a:t>local</a:t>
            </a:r>
            <a:r>
              <a:rPr lang="pl-PL" dirty="0"/>
              <a:t> file</a:t>
            </a:r>
            <a:r>
              <a:rPr lang="en-US" dirty="0"/>
              <a:t>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76420" y="4653170"/>
            <a:ext cx="90732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/>
              <a:t>&gt; </a:t>
            </a:r>
            <a:r>
              <a:rPr lang="de-DE" sz="1800" dirty="0"/>
              <a:t>mvn test allure:serve -Dtest=TS_Tag1</a:t>
            </a:r>
            <a:endParaRPr lang="en-US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760397" y="4365130"/>
            <a:ext cx="1672253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dirty="0" err="1"/>
              <a:t>Command</a:t>
            </a:r>
            <a:r>
              <a:rPr lang="pl-PL" sz="1800" dirty="0"/>
              <a:t> </a:t>
            </a:r>
            <a:r>
              <a:rPr lang="pl-PL" sz="1800" dirty="0" err="1"/>
              <a:t>lin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794330" y="5085230"/>
            <a:ext cx="77591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dirty="0"/>
              <a:t>Report url:</a:t>
            </a:r>
          </a:p>
          <a:p>
            <a:pPr>
              <a:lnSpc>
                <a:spcPct val="90000"/>
              </a:lnSpc>
            </a:pPr>
            <a:r>
              <a:rPr lang="pl-PL" sz="1800" dirty="0"/>
              <a:t>http://127.0.0.1:8080</a:t>
            </a:r>
            <a:endParaRPr lang="en-US" sz="1800" dirty="0"/>
          </a:p>
        </p:txBody>
      </p:sp>
      <p:sp>
        <p:nvSpPr>
          <p:cNvPr id="23" name="Rectangle 22"/>
          <p:cNvSpPr/>
          <p:nvPr/>
        </p:nvSpPr>
        <p:spPr>
          <a:xfrm>
            <a:off x="272350" y="3789050"/>
            <a:ext cx="334899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reate report </a:t>
            </a:r>
            <a:r>
              <a:rPr lang="pl-PL" dirty="0" err="1"/>
              <a:t>with</a:t>
            </a:r>
            <a:r>
              <a:rPr lang="pl-PL" dirty="0"/>
              <a:t> http </a:t>
            </a:r>
            <a:r>
              <a:rPr lang="pl-PL" dirty="0" err="1"/>
              <a:t>ser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0095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787943" y="405980"/>
            <a:ext cx="7880940" cy="8679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Test </a:t>
            </a:r>
            <a:r>
              <a:rPr lang="pl-PL" sz="2800" dirty="0" err="1"/>
              <a:t>Case</a:t>
            </a:r>
            <a:r>
              <a:rPr lang="pl-PL" sz="2800" dirty="0"/>
              <a:t> – </a:t>
            </a:r>
            <a:r>
              <a:rPr lang="pl-PL" sz="2800" dirty="0" err="1"/>
              <a:t>categorize</a:t>
            </a:r>
            <a:r>
              <a:rPr lang="pl-PL" sz="2800" dirty="0"/>
              <a:t> </a:t>
            </a:r>
            <a:r>
              <a:rPr lang="pl-PL" sz="2800" dirty="0" err="1"/>
              <a:t>functionality</a:t>
            </a:r>
            <a:r>
              <a:rPr lang="pl-PL" sz="2800" dirty="0"/>
              <a:t> and </a:t>
            </a:r>
            <a:r>
              <a:rPr lang="pl-PL" sz="2800" dirty="0" err="1"/>
              <a:t>severity</a:t>
            </a:r>
            <a:endParaRPr lang="pl-PL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  <p:graphicFrame>
        <p:nvGraphicFramePr>
          <p:cNvPr id="7" name="Diagram 6"/>
          <p:cNvGraphicFramePr/>
          <p:nvPr/>
        </p:nvGraphicFramePr>
        <p:xfrm>
          <a:off x="1568530" y="1484730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449447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2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Test Case – categorize functionality and severity</a:t>
            </a: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4895980" cy="1090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err="1"/>
              <a:t>Adnotation</a:t>
            </a:r>
            <a:r>
              <a:rPr lang="pl-PL" sz="1800" dirty="0"/>
              <a:t> </a:t>
            </a:r>
            <a:r>
              <a:rPr lang="pl-PL" sz="1800" dirty="0" err="1"/>
              <a:t>in</a:t>
            </a:r>
            <a:r>
              <a:rPr lang="pl-PL" sz="1800" dirty="0"/>
              <a:t> </a:t>
            </a:r>
            <a:r>
              <a:rPr lang="en-US" sz="1800" dirty="0"/>
              <a:t>Test Case @Category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err="1"/>
              <a:t>Adnotation</a:t>
            </a:r>
            <a:r>
              <a:rPr lang="pl-PL" sz="1800" dirty="0"/>
              <a:t> </a:t>
            </a:r>
            <a:r>
              <a:rPr lang="pl-PL" sz="1800" dirty="0" err="1"/>
              <a:t>in</a:t>
            </a:r>
            <a:r>
              <a:rPr lang="pl-PL" sz="1800" dirty="0"/>
              <a:t> </a:t>
            </a:r>
            <a:r>
              <a:rPr lang="en-US" sz="1800" dirty="0"/>
              <a:t>Test Suite @</a:t>
            </a:r>
            <a:r>
              <a:rPr lang="en-US" sz="1800" dirty="0" err="1"/>
              <a:t>IncludeCategories</a:t>
            </a:r>
            <a:r>
              <a:rPr lang="en-US" sz="1800" dirty="0"/>
              <a:t>, @</a:t>
            </a:r>
            <a:r>
              <a:rPr lang="en-US" sz="1800" dirty="0" err="1"/>
              <a:t>ExcludeCategories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>
          <a:xfrm>
            <a:off x="100746" y="6021360"/>
            <a:ext cx="945953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i="1"/>
              <a:t>Example test case (Ctrl + Shift + R): FristTest_tag1, TS_TestsIENotTag1NotTestsSmoke</a:t>
            </a:r>
            <a:endParaRPr lang="en-US" sz="1400" i="1" dirty="0"/>
          </a:p>
        </p:txBody>
      </p:sp>
      <p:sp>
        <p:nvSpPr>
          <p:cNvPr id="16" name="Rectangle 15"/>
          <p:cNvSpPr/>
          <p:nvPr/>
        </p:nvSpPr>
        <p:spPr>
          <a:xfrm>
            <a:off x="848429" y="5331534"/>
            <a:ext cx="871184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&gt; mvn test surefire:test site </a:t>
            </a:r>
            <a:r>
              <a:rPr lang="en-US" b="1"/>
              <a:t>-Dtest=TS_TestsIENotTag1NotTestsSmoke</a:t>
            </a:r>
            <a:endParaRPr lang="en-US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763472" y="3284980"/>
            <a:ext cx="217239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/>
              <a:t>Eclipse </a:t>
            </a:r>
            <a:br>
              <a:rPr lang="en-US" sz="2400" dirty="0"/>
            </a:br>
            <a:endParaRPr lang="en-US" sz="2400" dirty="0"/>
          </a:p>
          <a:p>
            <a:pPr algn="ctr">
              <a:lnSpc>
                <a:spcPct val="90000"/>
              </a:lnSpc>
            </a:pPr>
            <a:r>
              <a:rPr lang="pl-PL" sz="2400" b="1" dirty="0"/>
              <a:t>OR</a:t>
            </a:r>
            <a:br>
              <a:rPr lang="en-US" sz="2400" b="1" dirty="0"/>
            </a:br>
            <a:endParaRPr lang="en-US" sz="2400" b="1" dirty="0"/>
          </a:p>
          <a:p>
            <a:pPr algn="ctr">
              <a:lnSpc>
                <a:spcPct val="90000"/>
              </a:lnSpc>
            </a:pPr>
            <a:r>
              <a:rPr lang="pl-PL" sz="2400" dirty="0" err="1"/>
              <a:t>Command</a:t>
            </a:r>
            <a:r>
              <a:rPr lang="pl-PL" sz="2400" dirty="0"/>
              <a:t> </a:t>
            </a:r>
            <a:r>
              <a:rPr lang="pl-PL" sz="2400" dirty="0" err="1"/>
              <a:t>line</a:t>
            </a: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68375" y="1556740"/>
            <a:ext cx="3705225" cy="11906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08735" y="3212970"/>
            <a:ext cx="5076825" cy="1504950"/>
          </a:xfrm>
          <a:prstGeom prst="rect">
            <a:avLst/>
          </a:prstGeom>
        </p:spPr>
      </p:pic>
      <p:cxnSp>
        <p:nvCxnSpPr>
          <p:cNvPr id="5" name="Straight Arrow Connector 4"/>
          <p:cNvCxnSpPr/>
          <p:nvPr/>
        </p:nvCxnSpPr>
        <p:spPr>
          <a:xfrm flipH="1">
            <a:off x="6201756" y="1844675"/>
            <a:ext cx="1343604" cy="2454812"/>
          </a:xfrm>
          <a:prstGeom prst="straightConnector1">
            <a:avLst/>
          </a:prstGeom>
          <a:ln w="57150">
            <a:solidFill>
              <a:srgbClr val="FF0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8398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992450" y="1196690"/>
          <a:ext cx="8281150" cy="4896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87943" y="405980"/>
            <a:ext cx="5484450" cy="8679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Test Case - data </a:t>
            </a:r>
            <a:r>
              <a:rPr lang="pl-PL" sz="2800" dirty="0" err="1"/>
              <a:t>driven</a:t>
            </a:r>
            <a:r>
              <a:rPr lang="pl-PL" sz="2800" dirty="0"/>
              <a:t> </a:t>
            </a:r>
            <a:r>
              <a:rPr lang="pl-PL" sz="2800" dirty="0" err="1"/>
              <a:t>approach</a:t>
            </a:r>
            <a:endParaRPr lang="pl-PL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279018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erica was already discovered, </a:t>
            </a:r>
            <a:br>
              <a:rPr lang="pl-PL" dirty="0"/>
            </a:br>
            <a:r>
              <a:rPr lang="en-US" dirty="0"/>
              <a:t>why we would like to explore it all over again? </a:t>
            </a:r>
          </a:p>
        </p:txBody>
      </p:sp>
      <p:pic>
        <p:nvPicPr>
          <p:cNvPr id="178178" name="Picture 2" descr="http://landoflegendslv.com/01library/05research/01con/01WH15th/Columbus/images/SantaMaria001.jpg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2032000" y="1832769"/>
            <a:ext cx="5842000" cy="39751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Test Case - data driven approach - </a:t>
            </a:r>
            <a:r>
              <a:rPr lang="pl-PL" sz="2800" dirty="0" err="1">
                <a:latin typeface="+mj-lt"/>
                <a:ea typeface="+mj-ea"/>
                <a:cs typeface="+mj-cs"/>
              </a:rPr>
              <a:t>Internal</a:t>
            </a:r>
            <a:r>
              <a:rPr lang="en-US" sz="2800" dirty="0">
                <a:latin typeface="+mj-lt"/>
                <a:ea typeface="+mj-ea"/>
                <a:cs typeface="+mj-cs"/>
              </a:rPr>
              <a:t> Data Driven</a:t>
            </a: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7992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/>
          </a:p>
        </p:txBody>
      </p:sp>
      <p:sp>
        <p:nvSpPr>
          <p:cNvPr id="13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36293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/>
              <a:t>Internal  Data Driven – </a:t>
            </a:r>
            <a:br>
              <a:rPr lang="en-US" sz="1800"/>
            </a:br>
            <a:r>
              <a:rPr lang="en-US" sz="1800"/>
              <a:t>data as part of test case</a:t>
            </a: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60890" y="1077167"/>
            <a:ext cx="5448300" cy="5048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0746" y="6095178"/>
            <a:ext cx="945953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i="1"/>
              <a:t>Example test case (Ctrl + Shift + R): RegisterOKTestDDInternalDataTest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891598410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3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Test Case - data driven approach</a:t>
            </a:r>
            <a:r>
              <a:rPr lang="pl-PL" sz="2800" dirty="0">
                <a:latin typeface="+mj-lt"/>
                <a:ea typeface="+mj-ea"/>
                <a:cs typeface="+mj-cs"/>
              </a:rPr>
              <a:t> - </a:t>
            </a:r>
            <a:r>
              <a:rPr lang="pl-PL" sz="2800" dirty="0" err="1">
                <a:latin typeface="+mj-lt"/>
                <a:ea typeface="+mj-ea"/>
                <a:cs typeface="+mj-cs"/>
              </a:rPr>
              <a:t>External</a:t>
            </a:r>
            <a:r>
              <a:rPr lang="pl-PL" sz="2800" dirty="0">
                <a:latin typeface="+mj-lt"/>
                <a:ea typeface="+mj-ea"/>
                <a:cs typeface="+mj-cs"/>
              </a:rPr>
              <a:t> Data </a:t>
            </a:r>
            <a:r>
              <a:rPr lang="pl-PL" sz="2800" dirty="0" err="1">
                <a:latin typeface="+mj-lt"/>
                <a:ea typeface="+mj-ea"/>
                <a:cs typeface="+mj-cs"/>
              </a:rPr>
              <a:t>Driven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7992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/>
          </a:p>
        </p:txBody>
      </p:sp>
      <p:sp>
        <p:nvSpPr>
          <p:cNvPr id="9" name="TextBox 8"/>
          <p:cNvSpPr txBox="1"/>
          <p:nvPr/>
        </p:nvSpPr>
        <p:spPr>
          <a:xfrm>
            <a:off x="100746" y="6021360"/>
            <a:ext cx="945953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i="1"/>
              <a:t>Example test case (Ctrl + Shift + R): RegisterOKTestDDExternalDataTest</a:t>
            </a:r>
            <a:endParaRPr lang="en-US" sz="1400" i="1" dirty="0"/>
          </a:p>
        </p:txBody>
      </p:sp>
      <p:sp>
        <p:nvSpPr>
          <p:cNvPr id="13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36293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External Data Driven – </a:t>
            </a:r>
            <a:br>
              <a:rPr lang="en-US" sz="1800" dirty="0"/>
            </a:br>
            <a:r>
              <a:rPr lang="en-US" sz="1800" dirty="0"/>
              <a:t>data as external file injected in test cas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79752" y="1847497"/>
            <a:ext cx="5324475" cy="334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92832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787943" y="405980"/>
            <a:ext cx="729904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Test Case -  system under test </a:t>
            </a:r>
            <a:r>
              <a:rPr lang="pl-PL" sz="2800" dirty="0" err="1"/>
              <a:t>environments</a:t>
            </a:r>
            <a:endParaRPr lang="en-US" sz="2800" dirty="0"/>
          </a:p>
        </p:txBody>
      </p:sp>
      <p:graphicFrame>
        <p:nvGraphicFramePr>
          <p:cNvPr id="6" name="Diagram 5"/>
          <p:cNvGraphicFramePr/>
          <p:nvPr/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564225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6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3C64AA-0273-4867-A0BD-3FBDEF9BB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Case -  system under test environments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7992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/>
          </a:p>
        </p:txBody>
      </p:sp>
      <p:sp>
        <p:nvSpPr>
          <p:cNvPr id="13" name="TextBox 12"/>
          <p:cNvSpPr txBox="1"/>
          <p:nvPr/>
        </p:nvSpPr>
        <p:spPr>
          <a:xfrm>
            <a:off x="3906442" y="3284980"/>
            <a:ext cx="217239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/>
              <a:t>Eclipse </a:t>
            </a:r>
            <a:br>
              <a:rPr lang="en-US" sz="2400" dirty="0"/>
            </a:br>
            <a:endParaRPr lang="en-US" sz="2400" dirty="0"/>
          </a:p>
          <a:p>
            <a:pPr algn="ctr">
              <a:lnSpc>
                <a:spcPct val="90000"/>
              </a:lnSpc>
            </a:pPr>
            <a:r>
              <a:rPr lang="pl-PL" sz="2400" b="1" dirty="0"/>
              <a:t>OR</a:t>
            </a:r>
            <a:br>
              <a:rPr lang="en-US" sz="2400" b="1" dirty="0"/>
            </a:br>
            <a:endParaRPr lang="en-US" sz="2400" b="1" dirty="0"/>
          </a:p>
          <a:p>
            <a:pPr algn="ctr">
              <a:lnSpc>
                <a:spcPct val="90000"/>
              </a:lnSpc>
            </a:pPr>
            <a:r>
              <a:rPr lang="en-US" sz="2400" dirty="0"/>
              <a:t>Command lin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36470" y="5157240"/>
            <a:ext cx="806512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 &gt; mvn test surefire:test site -Dtest=RegistryPageTest </a:t>
            </a:r>
            <a:r>
              <a:rPr lang="en-US" b="1"/>
              <a:t>-Denv=DEV</a:t>
            </a:r>
            <a:endParaRPr lang="en-US" b="1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777120" y="1888777"/>
          <a:ext cx="7776380" cy="964143"/>
        </p:xfrm>
        <a:graphic>
          <a:graphicData uri="http://schemas.openxmlformats.org/drawingml/2006/table">
            <a:tbl>
              <a:tblPr/>
              <a:tblGrid>
                <a:gridCol w="17451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60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066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885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4657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 variab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Q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94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WW_FONT_UR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http://demoqa</a:t>
                      </a:r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.dev</a:t>
                      </a:r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.com/</a:t>
                      </a:r>
                      <a:endParaRPr lang="pl-PL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http://demoqa</a:t>
                      </a:r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.</a:t>
                      </a:r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qa</a:t>
                      </a:r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.com/</a:t>
                      </a:r>
                      <a:endParaRPr lang="pl-PL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http://demoqa</a:t>
                      </a:r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.</a:t>
                      </a:r>
                      <a:r>
                        <a:rPr lang="pl-PL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com/</a:t>
                      </a:r>
                      <a:endParaRPr lang="pl-PL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0746" y="6021360"/>
            <a:ext cx="945953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i="1"/>
              <a:t>Environment table is saved here: \src\test\resources\enviroments\environments.csv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375767822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  <a:br>
              <a:rPr lang="en-US" sz="2500" b="1" dirty="0"/>
            </a:br>
            <a:r>
              <a:rPr lang="en-US" sz="2500" b="1" dirty="0"/>
              <a:t>UI test modul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646891" y="3356990"/>
            <a:ext cx="5058769" cy="2880400"/>
            <a:chOff x="614935" y="1628750"/>
            <a:chExt cx="8370625" cy="3816530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336798225"/>
                </p:ext>
              </p:extLst>
            </p:nvPr>
          </p:nvGraphicFramePr>
          <p:xfrm>
            <a:off x="2504660" y="1628750"/>
            <a:ext cx="6480900" cy="37755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8" name="Diagram 7"/>
            <p:cNvGraphicFramePr/>
            <p:nvPr>
              <p:extLst>
                <p:ext uri="{D42A27DB-BD31-4B8C-83A1-F6EECF244321}">
                  <p14:modId xmlns:p14="http://schemas.microsoft.com/office/powerpoint/2010/main" val="313518533"/>
                </p:ext>
              </p:extLst>
            </p:nvPr>
          </p:nvGraphicFramePr>
          <p:xfrm>
            <a:off x="614935" y="1628750"/>
            <a:ext cx="3008729" cy="38165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1EB8341-C2F0-4DCD-B2AE-F4808A5766C7}"/>
              </a:ext>
            </a:extLst>
          </p:cNvPr>
          <p:cNvCxnSpPr>
            <a:cxnSpLocks/>
          </p:cNvCxnSpPr>
          <p:nvPr/>
        </p:nvCxnSpPr>
        <p:spPr>
          <a:xfrm flipH="1" flipV="1">
            <a:off x="3786343" y="2636890"/>
            <a:ext cx="2246807" cy="79211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66753DD-65D8-437D-B150-0966278BB195}"/>
              </a:ext>
            </a:extLst>
          </p:cNvPr>
          <p:cNvGrpSpPr/>
          <p:nvPr/>
        </p:nvGrpSpPr>
        <p:grpSpPr>
          <a:xfrm>
            <a:off x="1950491" y="1475013"/>
            <a:ext cx="1818319" cy="2323754"/>
            <a:chOff x="1" y="74169"/>
            <a:chExt cx="454754" cy="902987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45825F5-3FF0-4904-9AAF-395E32A0EF30}"/>
                </a:ext>
              </a:extLst>
            </p:cNvPr>
            <p:cNvSpPr/>
            <p:nvPr/>
          </p:nvSpPr>
          <p:spPr>
            <a:xfrm>
              <a:off x="1" y="74169"/>
              <a:ext cx="454754" cy="902987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: Rounded Corners 4">
              <a:extLst>
                <a:ext uri="{FF2B5EF4-FFF2-40B4-BE49-F238E27FC236}">
                  <a16:creationId xmlns:a16="http://schemas.microsoft.com/office/drawing/2014/main" id="{E0484A80-E3DD-4EFD-A29F-E5474324C994}"/>
                </a:ext>
              </a:extLst>
            </p:cNvPr>
            <p:cNvSpPr txBox="1"/>
            <p:nvPr/>
          </p:nvSpPr>
          <p:spPr>
            <a:xfrm>
              <a:off x="13320" y="87488"/>
              <a:ext cx="428116" cy="8763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marL="0" lvl="0" indent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/>
                <a:t>UI (Selenium) modu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4794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pl-PL" sz="2500" b="1" dirty="0"/>
              <a:t>UI </a:t>
            </a:r>
            <a:r>
              <a:rPr lang="pl-PL" sz="2500" b="1" dirty="0" err="1"/>
              <a:t>Selenium</a:t>
            </a:r>
            <a:r>
              <a:rPr lang="pl-PL" sz="2500" b="1" dirty="0"/>
              <a:t> test module </a:t>
            </a:r>
            <a:r>
              <a:rPr lang="en-US" sz="2500" b="1" dirty="0"/>
              <a:t>ingredients</a:t>
            </a:r>
          </a:p>
        </p:txBody>
      </p:sp>
      <p:pic>
        <p:nvPicPr>
          <p:cNvPr id="181250" name="Picture 2" descr="Znalezione obrazy dla zapytania selenium ic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670" y="188550"/>
            <a:ext cx="752840" cy="681320"/>
          </a:xfrm>
          <a:prstGeom prst="rect">
            <a:avLst/>
          </a:prstGeom>
          <a:noFill/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2204088383"/>
              </p:ext>
            </p:extLst>
          </p:nvPr>
        </p:nvGraphicFramePr>
        <p:xfrm>
          <a:off x="272350" y="1340710"/>
          <a:ext cx="9289290" cy="48246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Picture 4" descr="Znalezione obrazy dla zapytania java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3656820" y="1412720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632400" y="241417"/>
            <a:ext cx="5995744" cy="6740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User Interface Test Case </a:t>
            </a:r>
            <a:r>
              <a:rPr lang="pl-PL" sz="2800" dirty="0" err="1"/>
              <a:t>ingredients</a:t>
            </a:r>
            <a:endParaRPr lang="pl-PL" sz="2800" dirty="0"/>
          </a:p>
          <a:p>
            <a:pPr>
              <a:lnSpc>
                <a:spcPct val="90000"/>
              </a:lnSpc>
            </a:pP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200340" y="2132820"/>
            <a:ext cx="4392610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One Test Case </a:t>
            </a:r>
            <a:r>
              <a:rPr lang="pl-PL" sz="2800" dirty="0" err="1"/>
              <a:t>fits</a:t>
            </a:r>
            <a:r>
              <a:rPr lang="pl-PL" sz="2800" dirty="0"/>
              <a:t> </a:t>
            </a:r>
            <a:r>
              <a:rPr lang="pl-PL" sz="2800" dirty="0" err="1"/>
              <a:t>all</a:t>
            </a:r>
            <a:r>
              <a:rPr lang="pl-PL" sz="2800" dirty="0"/>
              <a:t> </a:t>
            </a:r>
            <a:r>
              <a:rPr lang="pl-PL" sz="2800" dirty="0" err="1"/>
              <a:t>ingredients</a:t>
            </a:r>
            <a:endParaRPr lang="pl-PL" sz="2800" dirty="0"/>
          </a:p>
          <a:p>
            <a:pPr>
              <a:lnSpc>
                <a:spcPct val="90000"/>
              </a:lnSpc>
            </a:pPr>
            <a:endParaRPr lang="pl-PL" sz="2800" dirty="0"/>
          </a:p>
          <a:p>
            <a:pPr>
              <a:lnSpc>
                <a:spcPct val="90000"/>
              </a:lnSpc>
            </a:pPr>
            <a:r>
              <a:rPr lang="pl-PL" sz="2800" dirty="0"/>
              <a:t>1 TC </a:t>
            </a:r>
            <a:r>
              <a:rPr lang="pl-PL" sz="2800" dirty="0" err="1"/>
              <a:t>equals</a:t>
            </a:r>
            <a:r>
              <a:rPr lang="pl-PL" sz="2800" dirty="0"/>
              <a:t> 144 </a:t>
            </a:r>
            <a:r>
              <a:rPr lang="pl-PL" sz="2800" dirty="0" err="1"/>
              <a:t>TCs</a:t>
            </a:r>
            <a:endParaRPr lang="pl-PL" sz="2800" dirty="0"/>
          </a:p>
          <a:p>
            <a:pPr>
              <a:lnSpc>
                <a:spcPct val="90000"/>
              </a:lnSpc>
            </a:pPr>
            <a:r>
              <a:rPr lang="pl-PL" sz="2800" dirty="0"/>
              <a:t>30 min </a:t>
            </a:r>
            <a:r>
              <a:rPr lang="pl-PL" sz="2800" dirty="0" err="1"/>
              <a:t>equals</a:t>
            </a:r>
            <a:r>
              <a:rPr lang="pl-PL" sz="2800" dirty="0"/>
              <a:t> 72 </a:t>
            </a:r>
            <a:r>
              <a:rPr lang="pl-PL" sz="2800" dirty="0" err="1"/>
              <a:t>hours</a:t>
            </a:r>
            <a:endParaRPr lang="pl-PL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0671494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787943" y="405980"/>
            <a:ext cx="5133328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One Test </a:t>
            </a:r>
            <a:r>
              <a:rPr lang="pl-PL" sz="2800" dirty="0" err="1"/>
              <a:t>Case</a:t>
            </a:r>
            <a:r>
              <a:rPr lang="pl-PL" sz="2800" dirty="0"/>
              <a:t> </a:t>
            </a:r>
            <a:r>
              <a:rPr lang="pl-PL" sz="2800" dirty="0" err="1"/>
              <a:t>fits</a:t>
            </a:r>
            <a:r>
              <a:rPr lang="pl-PL" sz="2800" dirty="0"/>
              <a:t> </a:t>
            </a:r>
            <a:r>
              <a:rPr lang="pl-PL" sz="2800" dirty="0" err="1"/>
              <a:t>all</a:t>
            </a:r>
            <a:r>
              <a:rPr lang="pl-PL" sz="2800" dirty="0"/>
              <a:t> </a:t>
            </a:r>
            <a:r>
              <a:rPr lang="pl-PL" sz="2800" dirty="0" err="1"/>
              <a:t>browsers</a:t>
            </a:r>
            <a:endParaRPr lang="en-US" sz="2800" dirty="0"/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406805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60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7919C4-546B-4721-BB72-EBEBEA0A9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One Test Case fits all browsers</a:t>
            </a:r>
            <a:br>
              <a:rPr lang="en-US" dirty="0"/>
            </a:br>
            <a:r>
              <a:rPr lang="en-US" dirty="0"/>
              <a:t>– Firefox, Chrome, IE</a:t>
            </a:r>
            <a:r>
              <a:rPr lang="pl-PL" dirty="0"/>
              <a:t>, Edge, Safari</a:t>
            </a:r>
            <a:r>
              <a:rPr lang="en-US" dirty="0"/>
              <a:t>, </a:t>
            </a:r>
            <a:r>
              <a:rPr lang="en-US" dirty="0" err="1"/>
              <a:t>PhantomJS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-1" y="3580615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7992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1"/>
          <a:srcRect l="11025" t="-1" r="75194" b="73400"/>
          <a:stretch/>
        </p:blipFill>
        <p:spPr>
          <a:xfrm>
            <a:off x="344360" y="1467238"/>
            <a:ext cx="2520350" cy="27363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36475" y="1267393"/>
            <a:ext cx="5076825" cy="16859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00923" y="1196690"/>
            <a:ext cx="2505075" cy="317182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060315" y="3075253"/>
            <a:ext cx="655949" cy="1006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600" b="1">
                <a:solidFill>
                  <a:srgbClr val="FFC000"/>
                </a:solidFill>
              </a:rPr>
              <a:t>1</a:t>
            </a:r>
            <a:endParaRPr lang="en-US" sz="6600" b="1" dirty="0">
              <a:solidFill>
                <a:srgbClr val="FFC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57351" y="1988800"/>
            <a:ext cx="655949" cy="1006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600" b="1">
                <a:solidFill>
                  <a:srgbClr val="FFC000"/>
                </a:solidFill>
              </a:rPr>
              <a:t>2</a:t>
            </a:r>
            <a:endParaRPr lang="en-US" sz="6600" b="1" dirty="0">
              <a:solidFill>
                <a:srgbClr val="FFC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904328" y="3362268"/>
            <a:ext cx="655949" cy="1006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600" b="1">
                <a:solidFill>
                  <a:srgbClr val="FFC000"/>
                </a:solidFill>
              </a:rPr>
              <a:t>3</a:t>
            </a:r>
            <a:endParaRPr lang="en-US" sz="6600" b="1" dirty="0">
              <a:solidFill>
                <a:srgbClr val="FFC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55146" y="3284980"/>
            <a:ext cx="2274982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/>
              <a:t>Eclipse </a:t>
            </a:r>
            <a:br>
              <a:rPr lang="en-US" sz="2400" dirty="0"/>
            </a:br>
            <a:endParaRPr lang="en-US" sz="2400" dirty="0"/>
          </a:p>
          <a:p>
            <a:pPr algn="ctr">
              <a:lnSpc>
                <a:spcPct val="90000"/>
              </a:lnSpc>
            </a:pPr>
            <a:r>
              <a:rPr lang="pl-PL" sz="2400" b="1" dirty="0"/>
              <a:t>OR</a:t>
            </a:r>
            <a:br>
              <a:rPr lang="en-US" sz="2400" b="1" dirty="0"/>
            </a:br>
            <a:endParaRPr lang="en-US" sz="2400" b="1" dirty="0"/>
          </a:p>
          <a:p>
            <a:pPr algn="ctr">
              <a:lnSpc>
                <a:spcPct val="90000"/>
              </a:lnSpc>
            </a:pPr>
            <a:r>
              <a:rPr lang="pl-PL" sz="2400" dirty="0" err="1"/>
              <a:t>Command</a:t>
            </a:r>
            <a:r>
              <a:rPr lang="pl-PL" sz="2400" dirty="0"/>
              <a:t> Line</a:t>
            </a:r>
            <a:endParaRPr lang="en-US" sz="2400" dirty="0"/>
          </a:p>
        </p:txBody>
      </p:sp>
      <p:sp>
        <p:nvSpPr>
          <p:cNvPr id="18" name="Rectangle 17"/>
          <p:cNvSpPr/>
          <p:nvPr/>
        </p:nvSpPr>
        <p:spPr>
          <a:xfrm>
            <a:off x="1136470" y="5157240"/>
            <a:ext cx="806512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 &gt; mvn test surefire:test site -Dtest=RegistryPageTest </a:t>
            </a:r>
            <a:r>
              <a:rPr lang="en-US" b="1"/>
              <a:t>-Dbrowser=firefox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7086607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de-DE"/>
              <a:t>Copyright © Capgemini 2013. All Rights Reserv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Testowanie_aplikacji_webowych_Selenium_oraz_Java_v1.0.0.pptx</a:t>
            </a:r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56320" y="260560"/>
            <a:ext cx="8967648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/>
              <a:t>One Test Case for </a:t>
            </a:r>
            <a:r>
              <a:rPr lang="pl-PL" sz="2800" dirty="0" err="1"/>
              <a:t>Responsive</a:t>
            </a:r>
            <a:r>
              <a:rPr lang="pl-PL" sz="2800" dirty="0"/>
              <a:t> Web Design and Mobile</a:t>
            </a:r>
            <a:endParaRPr lang="en-US" sz="2800" dirty="0"/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80514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92950" y="4419600"/>
            <a:ext cx="5313050" cy="966788"/>
          </a:xfrm>
          <a:solidFill>
            <a:srgbClr val="00B0F0"/>
          </a:solidFill>
        </p:spPr>
        <p:txBody>
          <a:bodyPr/>
          <a:lstStyle/>
          <a:p>
            <a:pPr marL="174625" algn="l" fontAlgn="auto">
              <a:spcAft>
                <a:spcPts val="0"/>
              </a:spcAft>
              <a:defRPr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arshore Test Center</a:t>
            </a:r>
            <a:br>
              <a:rPr lang="en-US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800" dirty="0">
                <a:solidFill>
                  <a:schemeClr val="bg1">
                    <a:lumMod val="95000"/>
                  </a:schemeClr>
                </a:solidFill>
              </a:rPr>
              <a:t> Allure End to End test framework</a:t>
            </a:r>
            <a:endParaRPr lang="en-US" sz="2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613400" y="5943600"/>
            <a:ext cx="4292600" cy="381000"/>
          </a:xfrm>
          <a:solidFill>
            <a:srgbClr val="00B0F0"/>
          </a:solidFill>
        </p:spPr>
        <p:txBody>
          <a:bodyPr/>
          <a:lstStyle/>
          <a:p>
            <a:pPr marL="174625" fontAlgn="auto">
              <a:defRPr/>
            </a:pPr>
            <a:r>
              <a:rPr lang="pl-PL" sz="2200" dirty="0"/>
              <a:t>February 2018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 bwMode="auto">
          <a:xfrm>
            <a:off x="5365750" y="5486400"/>
            <a:ext cx="4540250" cy="38100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vert="horz" wrap="square" lIns="36000" tIns="36000" rIns="360000" bIns="3600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r" defTabSz="99569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182563" indent="-182563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2813" rtl="0" fontAlgn="base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801688" rtl="0" fontAlgn="base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fontAlgn="auto">
              <a:defRPr/>
            </a:pPr>
            <a:r>
              <a:rPr lang="pl-PL" sz="2200" dirty="0"/>
              <a:t>Łukasz </a:t>
            </a:r>
            <a:r>
              <a:rPr lang="pl-PL" sz="2200" dirty="0" err="1"/>
              <a:t>Stefaniszyn</a:t>
            </a:r>
            <a:endParaRPr lang="pl-PL" sz="2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1BAFF3-B3E1-4794-AACE-836CC1F4B6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00" t="30312" r="21697" b="32500"/>
          <a:stretch/>
        </p:blipFill>
        <p:spPr>
          <a:xfrm>
            <a:off x="6593540" y="3195037"/>
            <a:ext cx="3312460" cy="1224171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4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pyright © Capgemini 2013. All Rights Reserved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estowanie_aplikacji_webowych_Selenium_oraz_Java_v1.0.0.pptx</a:t>
            </a:r>
            <a:endParaRPr lang="en-US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One Test Case for Responsive Web Design and Mobile</a:t>
            </a:r>
          </a:p>
        </p:txBody>
      </p:sp>
      <p:sp>
        <p:nvSpPr>
          <p:cNvPr id="7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7992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/>
          </a:p>
        </p:txBody>
      </p:sp>
      <p:sp>
        <p:nvSpPr>
          <p:cNvPr id="9" name="TextBox 8"/>
          <p:cNvSpPr txBox="1"/>
          <p:nvPr/>
        </p:nvSpPr>
        <p:spPr>
          <a:xfrm>
            <a:off x="100746" y="6021360"/>
            <a:ext cx="9459531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i="1"/>
              <a:t>Example test case (Ctrl + Shift + R):  ResolutionTest</a:t>
            </a:r>
            <a:endParaRPr lang="en-US" sz="1400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85925" y="1471612"/>
            <a:ext cx="6534150" cy="391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605054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  <a:br>
              <a:rPr lang="en-US" sz="2500" b="1" dirty="0"/>
            </a:br>
            <a:r>
              <a:rPr lang="en-US" sz="2500" b="1" dirty="0"/>
              <a:t>Selenium Grid modul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088880" y="3356990"/>
            <a:ext cx="5616780" cy="2880400"/>
            <a:chOff x="-308391" y="1628750"/>
            <a:chExt cx="9293951" cy="3816530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2420014333"/>
                </p:ext>
              </p:extLst>
            </p:nvPr>
          </p:nvGraphicFramePr>
          <p:xfrm>
            <a:off x="2504660" y="1628750"/>
            <a:ext cx="6480900" cy="37755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8" name="Diagram 7"/>
            <p:cNvGraphicFramePr/>
            <p:nvPr>
              <p:extLst>
                <p:ext uri="{D42A27DB-BD31-4B8C-83A1-F6EECF244321}">
                  <p14:modId xmlns:p14="http://schemas.microsoft.com/office/powerpoint/2010/main" val="2768118688"/>
                </p:ext>
              </p:extLst>
            </p:nvPr>
          </p:nvGraphicFramePr>
          <p:xfrm>
            <a:off x="-308391" y="1628750"/>
            <a:ext cx="3008729" cy="38165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1EB8341-C2F0-4DCD-B2AE-F4808A5766C7}"/>
              </a:ext>
            </a:extLst>
          </p:cNvPr>
          <p:cNvCxnSpPr>
            <a:cxnSpLocks/>
          </p:cNvCxnSpPr>
          <p:nvPr/>
        </p:nvCxnSpPr>
        <p:spPr>
          <a:xfrm flipH="1" flipV="1">
            <a:off x="3786344" y="2636890"/>
            <a:ext cx="2750876" cy="7201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66753DD-65D8-437D-B150-0966278BB195}"/>
              </a:ext>
            </a:extLst>
          </p:cNvPr>
          <p:cNvGrpSpPr/>
          <p:nvPr/>
        </p:nvGrpSpPr>
        <p:grpSpPr>
          <a:xfrm>
            <a:off x="1950491" y="1475013"/>
            <a:ext cx="1818319" cy="2323754"/>
            <a:chOff x="1" y="74169"/>
            <a:chExt cx="454754" cy="902987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45825F5-3FF0-4904-9AAF-395E32A0EF30}"/>
                </a:ext>
              </a:extLst>
            </p:cNvPr>
            <p:cNvSpPr/>
            <p:nvPr/>
          </p:nvSpPr>
          <p:spPr>
            <a:xfrm>
              <a:off x="1" y="74169"/>
              <a:ext cx="454754" cy="902987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: Rounded Corners 4">
              <a:extLst>
                <a:ext uri="{FF2B5EF4-FFF2-40B4-BE49-F238E27FC236}">
                  <a16:creationId xmlns:a16="http://schemas.microsoft.com/office/drawing/2014/main" id="{E0484A80-E3DD-4EFD-A29F-E5474324C994}"/>
                </a:ext>
              </a:extLst>
            </p:cNvPr>
            <p:cNvSpPr txBox="1"/>
            <p:nvPr/>
          </p:nvSpPr>
          <p:spPr>
            <a:xfrm>
              <a:off x="13320" y="87488"/>
              <a:ext cx="428116" cy="8763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marL="0" lvl="0" indent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Selenium Gr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1739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0"/>
            <a:ext cx="9905999" cy="100213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2500" b="1" dirty="0"/>
              <a:t>Selenium Grid infrastructure</a:t>
            </a:r>
            <a:r>
              <a:rPr lang="pl-PL" sz="2500" b="1" dirty="0"/>
              <a:t> </a:t>
            </a:r>
            <a:r>
              <a:rPr lang="en-US" sz="2500" b="1" dirty="0"/>
              <a:t>ingredients</a:t>
            </a:r>
          </a:p>
        </p:txBody>
      </p:sp>
      <p:pic>
        <p:nvPicPr>
          <p:cNvPr id="176130" name="Picture 2" descr="Znalezione obrazy dla zapytania docker swarm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932438" y="116540"/>
            <a:ext cx="773222" cy="761881"/>
          </a:xfrm>
          <a:prstGeom prst="rect">
            <a:avLst/>
          </a:prstGeom>
          <a:noFill/>
        </p:spPr>
      </p:pic>
      <p:pic>
        <p:nvPicPr>
          <p:cNvPr id="10" name="Picture 2" descr="Znalezione obrazy dla zapytania selenium gri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40" y="1700760"/>
            <a:ext cx="4325337" cy="3960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Diagram 11"/>
          <p:cNvGraphicFramePr/>
          <p:nvPr/>
        </p:nvGraphicFramePr>
        <p:xfrm>
          <a:off x="560390" y="1484730"/>
          <a:ext cx="468065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Picture 2" descr="Znalezione obrazy dla zapytania selenium icon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72670" y="188550"/>
            <a:ext cx="752840" cy="6813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11463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2500" b="1" dirty="0"/>
              <a:t>DevOps infrastructure</a:t>
            </a:r>
            <a:r>
              <a:rPr lang="pl-PL" sz="2500" b="1" dirty="0"/>
              <a:t> </a:t>
            </a:r>
            <a:r>
              <a:rPr lang="en-US" sz="2500" b="1" dirty="0"/>
              <a:t>ingredients</a:t>
            </a:r>
          </a:p>
        </p:txBody>
      </p:sp>
      <p:sp>
        <p:nvSpPr>
          <p:cNvPr id="183298" name="AutoShape 2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300" name="AutoShape 4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3302" name="Picture 6" descr="Podobny obraz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12450" y="95590"/>
            <a:ext cx="813060" cy="813060"/>
          </a:xfrm>
          <a:prstGeom prst="rect">
            <a:avLst/>
          </a:prstGeom>
          <a:noFill/>
        </p:spPr>
      </p:pic>
      <p:pic>
        <p:nvPicPr>
          <p:cNvPr id="11" name="Picture 5" descr="Znalezione obrazy dla zapytania groovy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9900" y="359512"/>
            <a:ext cx="805460" cy="405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Diagram 11"/>
          <p:cNvGraphicFramePr/>
          <p:nvPr>
            <p:extLst/>
          </p:nvPr>
        </p:nvGraphicFramePr>
        <p:xfrm>
          <a:off x="1064460" y="1628750"/>
          <a:ext cx="8209140" cy="432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Znalezione obrazy dla zapytania docker swarm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932438" y="116540"/>
            <a:ext cx="773222" cy="7618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  <a:br>
              <a:rPr lang="en-US" sz="2500" b="1" dirty="0"/>
            </a:br>
            <a:r>
              <a:rPr lang="en-US" sz="2500" b="1" dirty="0" err="1"/>
              <a:t>WebAPI</a:t>
            </a:r>
            <a:r>
              <a:rPr lang="en-US" sz="2500" b="1" dirty="0"/>
              <a:t> test modul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574881" y="3356990"/>
            <a:ext cx="5130779" cy="2880400"/>
            <a:chOff x="495782" y="1628750"/>
            <a:chExt cx="8489778" cy="3816530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2682841898"/>
                </p:ext>
              </p:extLst>
            </p:nvPr>
          </p:nvGraphicFramePr>
          <p:xfrm>
            <a:off x="2504660" y="1628750"/>
            <a:ext cx="6480900" cy="37755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8" name="Diagram 7"/>
            <p:cNvGraphicFramePr/>
            <p:nvPr>
              <p:extLst>
                <p:ext uri="{D42A27DB-BD31-4B8C-83A1-F6EECF244321}">
                  <p14:modId xmlns:p14="http://schemas.microsoft.com/office/powerpoint/2010/main" val="771273844"/>
                </p:ext>
              </p:extLst>
            </p:nvPr>
          </p:nvGraphicFramePr>
          <p:xfrm>
            <a:off x="495782" y="1628750"/>
            <a:ext cx="3008729" cy="38165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1EB8341-C2F0-4DCD-B2AE-F4808A5766C7}"/>
              </a:ext>
            </a:extLst>
          </p:cNvPr>
          <p:cNvCxnSpPr>
            <a:cxnSpLocks/>
          </p:cNvCxnSpPr>
          <p:nvPr/>
        </p:nvCxnSpPr>
        <p:spPr>
          <a:xfrm flipH="1" flipV="1">
            <a:off x="4117059" y="2204830"/>
            <a:ext cx="2348151" cy="230432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714F39-B783-4660-8BC2-81DC08C466AA}"/>
              </a:ext>
            </a:extLst>
          </p:cNvPr>
          <p:cNvGrpSpPr/>
          <p:nvPr/>
        </p:nvGrpSpPr>
        <p:grpSpPr>
          <a:xfrm>
            <a:off x="1136470" y="1718404"/>
            <a:ext cx="2952410" cy="1278536"/>
            <a:chOff x="2853" y="1006663"/>
            <a:chExt cx="2350169" cy="90298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DD08C5D-0B67-444C-9C30-50B1BA4CF868}"/>
                </a:ext>
              </a:extLst>
            </p:cNvPr>
            <p:cNvSpPr/>
            <p:nvPr/>
          </p:nvSpPr>
          <p:spPr>
            <a:xfrm>
              <a:off x="2853" y="1006663"/>
              <a:ext cx="2350169" cy="902987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16AA9125-650E-4C80-A40F-1DE5797CFBB6}"/>
                </a:ext>
              </a:extLst>
            </p:cNvPr>
            <p:cNvSpPr txBox="1"/>
            <p:nvPr/>
          </p:nvSpPr>
          <p:spPr>
            <a:xfrm>
              <a:off x="29301" y="1033111"/>
              <a:ext cx="2297273" cy="8500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/>
                <a:t>WebAPI modu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92997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en-US" sz="2500" b="1" dirty="0" err="1"/>
              <a:t>WebAPI</a:t>
            </a:r>
            <a:r>
              <a:rPr lang="en-US" sz="2500" b="1" dirty="0"/>
              <a:t> test module</a:t>
            </a:r>
            <a:r>
              <a:rPr lang="pl-PL" sz="2500" b="1" dirty="0"/>
              <a:t> </a:t>
            </a:r>
            <a:r>
              <a:rPr lang="en-US" sz="2500" b="1" dirty="0"/>
              <a:t>ingredient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4046623"/>
              </p:ext>
            </p:extLst>
          </p:nvPr>
        </p:nvGraphicFramePr>
        <p:xfrm>
          <a:off x="482435" y="1176823"/>
          <a:ext cx="89154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3298" name="AutoShape 2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300" name="AutoShape 4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4322" name="Picture 2" descr="Podobny obraz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81240" y="404580"/>
            <a:ext cx="2017350" cy="343535"/>
          </a:xfrm>
          <a:prstGeom prst="rect">
            <a:avLst/>
          </a:prstGeom>
          <a:noFill/>
        </p:spPr>
      </p:pic>
      <p:pic>
        <p:nvPicPr>
          <p:cNvPr id="11" name="Picture 4" descr="Znalezione obrazy dla zapytania java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4860" y="5661310"/>
            <a:ext cx="655943" cy="65594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196" y="5013220"/>
            <a:ext cx="794410" cy="79441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27037"/>
            <a:ext cx="9905999" cy="100213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2500" b="1" dirty="0"/>
              <a:t>Security test module</a:t>
            </a:r>
            <a:r>
              <a:rPr lang="pl-PL" sz="2500" b="1" dirty="0"/>
              <a:t> </a:t>
            </a:r>
            <a:r>
              <a:rPr lang="en-US" sz="2500" b="1" dirty="0"/>
              <a:t>ingredients </a:t>
            </a:r>
          </a:p>
        </p:txBody>
      </p:sp>
      <p:sp>
        <p:nvSpPr>
          <p:cNvPr id="183298" name="AutoShape 2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71500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300" name="AutoShape 4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71500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60" y="5661310"/>
            <a:ext cx="1154460" cy="65594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0690" y="5589300"/>
            <a:ext cx="708897" cy="708897"/>
          </a:xfrm>
          <a:prstGeom prst="rect">
            <a:avLst/>
          </a:prstGeom>
        </p:spPr>
      </p:pic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369945"/>
              </p:ext>
            </p:extLst>
          </p:nvPr>
        </p:nvGraphicFramePr>
        <p:xfrm>
          <a:off x="273050" y="1124680"/>
          <a:ext cx="9359900" cy="38885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83360" y="5123516"/>
            <a:ext cx="1151580" cy="537794"/>
          </a:xfrm>
          <a:prstGeom prst="rect">
            <a:avLst/>
          </a:prstGeom>
        </p:spPr>
      </p:pic>
      <p:pic>
        <p:nvPicPr>
          <p:cNvPr id="17" name="Picture 4" descr="Znalezione obrazy dla zapytania java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68940" y="5013220"/>
            <a:ext cx="776420" cy="776420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2822" y="5025375"/>
            <a:ext cx="1079345" cy="66421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34306" y="5025375"/>
            <a:ext cx="844218" cy="860735"/>
          </a:xfrm>
          <a:prstGeom prst="rect">
            <a:avLst/>
          </a:prstGeom>
        </p:spPr>
      </p:pic>
      <p:pic>
        <p:nvPicPr>
          <p:cNvPr id="20" name="Picture 4" descr="Znalezione obrazy dla zapytania java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  <p:sp>
        <p:nvSpPr>
          <p:cNvPr id="19" name="Rectangle 18"/>
          <p:cNvSpPr/>
          <p:nvPr/>
        </p:nvSpPr>
        <p:spPr>
          <a:xfrm>
            <a:off x="7257320" y="6093370"/>
            <a:ext cx="264207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/>
              <a:t>*  - task able to enhance in DevOps module</a:t>
            </a:r>
          </a:p>
        </p:txBody>
      </p:sp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en-US" sz="2500" b="1" dirty="0"/>
              <a:t>Database test module</a:t>
            </a:r>
            <a:r>
              <a:rPr lang="pl-PL" sz="2500" b="1" dirty="0"/>
              <a:t> </a:t>
            </a:r>
            <a:r>
              <a:rPr lang="en-US" sz="2500" b="1" dirty="0"/>
              <a:t>ingredient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4046623"/>
              </p:ext>
            </p:extLst>
          </p:nvPr>
        </p:nvGraphicFramePr>
        <p:xfrm>
          <a:off x="482435" y="1176823"/>
          <a:ext cx="89154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3298" name="AutoShape 2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300" name="AutoShape 4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Picture 5" descr="C:\Users\lustefan\Downloads\db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257320" y="260560"/>
            <a:ext cx="1153806" cy="501655"/>
          </a:xfrm>
          <a:prstGeom prst="rect">
            <a:avLst/>
          </a:prstGeom>
          <a:noFill/>
        </p:spPr>
      </p:pic>
      <p:pic>
        <p:nvPicPr>
          <p:cNvPr id="13" name="Picture 4" descr="Znalezione obrazy dla zapytania java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2500" b="1" dirty="0"/>
              <a:t>Mobile App test module</a:t>
            </a:r>
            <a:r>
              <a:rPr lang="pl-PL" sz="2500" b="1" dirty="0"/>
              <a:t> * </a:t>
            </a:r>
            <a:r>
              <a:rPr lang="en-US" sz="2500" b="1" dirty="0"/>
              <a:t>ingredient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4046623"/>
              </p:ext>
            </p:extLst>
          </p:nvPr>
        </p:nvGraphicFramePr>
        <p:xfrm>
          <a:off x="482435" y="1176823"/>
          <a:ext cx="89154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3298" name="AutoShape 2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300" name="AutoShape 4" descr="Znalezione obrazy dla zapytania jenki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5346" name="Picture 2" descr="Znalezione obrazy dla zapytania appium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969280" y="332570"/>
            <a:ext cx="1762644" cy="456873"/>
          </a:xfrm>
          <a:prstGeom prst="rect">
            <a:avLst/>
          </a:prstGeom>
          <a:noFill/>
        </p:spPr>
      </p:pic>
      <p:pic>
        <p:nvPicPr>
          <p:cNvPr id="10" name="Picture 4" descr="Znalezione obrazy dla zapytania java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7761390" y="6093370"/>
            <a:ext cx="21018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/>
              <a:t>*  - task not started, to be defined</a:t>
            </a:r>
          </a:p>
        </p:txBody>
      </p:sp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0"/>
            <a:ext cx="9905999" cy="100213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pl-PL" sz="2500" b="1" dirty="0"/>
              <a:t>Mobile </a:t>
            </a:r>
            <a:r>
              <a:rPr lang="pl-PL" sz="2500" b="1" dirty="0" err="1"/>
              <a:t>Grid</a:t>
            </a:r>
            <a:r>
              <a:rPr lang="pl-PL" sz="2500" b="1" dirty="0"/>
              <a:t> </a:t>
            </a:r>
            <a:r>
              <a:rPr lang="pl-PL" sz="2500" b="1" dirty="0" err="1"/>
              <a:t>infrastructure</a:t>
            </a:r>
            <a:r>
              <a:rPr lang="pl-PL" sz="2500" b="1" dirty="0"/>
              <a:t> * </a:t>
            </a:r>
            <a:r>
              <a:rPr lang="en-US" sz="2500" b="1" dirty="0"/>
              <a:t>ingredients</a:t>
            </a:r>
          </a:p>
        </p:txBody>
      </p:sp>
      <p:pic>
        <p:nvPicPr>
          <p:cNvPr id="176130" name="Picture 2" descr="Znalezione obrazy dla zapytania docker swarm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913550" y="116540"/>
            <a:ext cx="773222" cy="761881"/>
          </a:xfrm>
          <a:prstGeom prst="rect">
            <a:avLst/>
          </a:prstGeom>
          <a:noFill/>
        </p:spPr>
      </p:pic>
      <p:sp>
        <p:nvSpPr>
          <p:cNvPr id="177154" name="AutoShape 2" descr="Znalezione obrazy dla zapytania appium mobile gri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614525"/>
              </p:ext>
            </p:extLst>
          </p:nvPr>
        </p:nvGraphicFramePr>
        <p:xfrm>
          <a:off x="482435" y="1176823"/>
          <a:ext cx="6342825" cy="4988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2" descr="Znalezione obrazy dla zapytania appium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969280" y="332570"/>
            <a:ext cx="1762644" cy="456873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/>
        </p:nvSpPr>
        <p:spPr>
          <a:xfrm>
            <a:off x="7761390" y="6093370"/>
            <a:ext cx="21018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/>
              <a:t>*  - task not started, to be defined</a:t>
            </a:r>
          </a:p>
        </p:txBody>
      </p:sp>
      <p:pic>
        <p:nvPicPr>
          <p:cNvPr id="181250" name="Picture 2" descr="Znalezione obrazy dla zapytania appium grid structure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825260" y="1484730"/>
            <a:ext cx="2723915" cy="31691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pl-PL" sz="2500" b="1" dirty="0"/>
              <a:t>E2E </a:t>
            </a:r>
            <a:r>
              <a:rPr lang="en-US" sz="2500" b="1" dirty="0"/>
              <a:t>Test Framework for DevOps &amp; Smart Automation</a:t>
            </a:r>
          </a:p>
        </p:txBody>
      </p:sp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0" name="think-cell Folie" r:id="rId12" imgW="0" imgH="0" progId="">
                  <p:embed/>
                </p:oleObj>
              </mc:Choice>
              <mc:Fallback>
                <p:oleObj name="think-cell Folie" r:id="rId1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 2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025010" y="1628750"/>
            <a:ext cx="216030" cy="453663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440"/>
              </a:cxn>
              <a:cxn ang="0">
                <a:pos x="240" y="720"/>
              </a:cxn>
              <a:cxn ang="0">
                <a:pos x="0" y="0"/>
              </a:cxn>
            </a:cxnLst>
            <a:rect l="0" t="0" r="r" b="b"/>
            <a:pathLst>
              <a:path w="241" h="1441">
                <a:moveTo>
                  <a:pt x="0" y="0"/>
                </a:moveTo>
                <a:lnTo>
                  <a:pt x="0" y="1440"/>
                </a:lnTo>
                <a:lnTo>
                  <a:pt x="240" y="720"/>
                </a:lnTo>
                <a:lnTo>
                  <a:pt x="0" y="0"/>
                </a:lnTo>
              </a:path>
            </a:pathLst>
          </a:custGeom>
          <a:solidFill>
            <a:srgbClr val="0085B3"/>
          </a:solidFill>
          <a:ln w="12700" cap="rnd">
            <a:noFill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8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472" y="1491942"/>
            <a:ext cx="4680000" cy="2808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1600" b="1" i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376238" indent="-18256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5715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287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4859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19431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003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b="1" dirty="0">
                <a:solidFill>
                  <a:schemeClr val="bg1"/>
                </a:solidFill>
              </a:rPr>
              <a:t>Task Description</a:t>
            </a:r>
          </a:p>
        </p:txBody>
      </p:sp>
      <p:sp>
        <p:nvSpPr>
          <p:cNvPr id="37" name="Rectangle 16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200992" y="1772802"/>
            <a:ext cx="4680000" cy="1080118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Calibri" pitchFamily="34" charset="0"/>
              </a:rPr>
              <a:t>Embrace Test Automation in project with minimal cost and time 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Bring up to speed testers and developers with common quality goal 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Plug in/out framework features to fit project needs 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One test case to validate 3 tiers of app (Database, </a:t>
            </a:r>
            <a:r>
              <a:rPr lang="en-US" sz="1100" dirty="0" err="1">
                <a:latin typeface="Calibri" pitchFamily="34" charset="0"/>
              </a:rPr>
              <a:t>WebService</a:t>
            </a:r>
            <a:r>
              <a:rPr lang="en-US" sz="1100" dirty="0">
                <a:latin typeface="Calibri" pitchFamily="34" charset="0"/>
              </a:rPr>
              <a:t>, UI) 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Accelerate tests execution (parallel execution, </a:t>
            </a:r>
            <a:r>
              <a:rPr lang="en-US" sz="1100" dirty="0" err="1">
                <a:latin typeface="Calibri" pitchFamily="34" charset="0"/>
              </a:rPr>
              <a:t>env</a:t>
            </a:r>
            <a:r>
              <a:rPr lang="en-US" sz="1100" dirty="0">
                <a:latin typeface="Calibri" pitchFamily="34" charset="0"/>
              </a:rPr>
              <a:t> auto-scaling)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Standardize test develop process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341" y="4653144"/>
            <a:ext cx="4680000" cy="2808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1600" b="1" i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376238" indent="-18256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5715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287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4859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19431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003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b="1" dirty="0">
                <a:solidFill>
                  <a:schemeClr val="bg1"/>
                </a:solidFill>
              </a:rPr>
              <a:t>Benefit for the Customer</a:t>
            </a:r>
          </a:p>
        </p:txBody>
      </p:sp>
      <p:sp>
        <p:nvSpPr>
          <p:cNvPr id="40" name="Rectangle 16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00340" y="4941184"/>
            <a:ext cx="4680000" cy="13682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Calibri" pitchFamily="34" charset="0"/>
              </a:rPr>
              <a:t>Resilient and robust building and validation process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Shift quality gates closer to software developer process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Team quality awareness increase - include Unit Tests, Static Analyze, Security Tests, Performance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Transparent test execution environment to any infrastructure. Touch base with Cloud solution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Faster Quality and DevOps driven delivery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Proven frameworks,  technologies and processes </a:t>
            </a:r>
            <a:endParaRPr lang="en-US" sz="1000" dirty="0">
              <a:latin typeface="Arial" charset="0"/>
            </a:endParaRPr>
          </a:p>
        </p:txBody>
      </p:sp>
      <p:sp>
        <p:nvSpPr>
          <p:cNvPr id="41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0341" y="2932194"/>
            <a:ext cx="4680000" cy="2808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1600" b="1" i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376238" indent="-18256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5715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287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4859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19431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003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b="1" dirty="0">
                <a:solidFill>
                  <a:schemeClr val="bg1"/>
                </a:solidFill>
              </a:rPr>
              <a:t>Service provided by Capgemini</a:t>
            </a:r>
          </a:p>
        </p:txBody>
      </p:sp>
      <p:sp>
        <p:nvSpPr>
          <p:cNvPr id="42" name="Rectangle 16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200992" y="3213010"/>
            <a:ext cx="4680000" cy="13681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Takeover of operation and therefore delivery of the entire service in accordance with DevOps procedural model.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Capgemini is partnering with client on implementation of IT Projects Delivery Transformation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Tool agnostic approach / Innovative architecture – Test Framework with examples 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Test execution infrastructure (Jenkins as code pipeline, </a:t>
            </a:r>
            <a:r>
              <a:rPr lang="en-US" sz="1100" dirty="0" err="1">
                <a:latin typeface="Calibri" pitchFamily="34" charset="0"/>
              </a:rPr>
              <a:t>Docker</a:t>
            </a:r>
            <a:r>
              <a:rPr lang="en-US" sz="1100" dirty="0">
                <a:latin typeface="Calibri" pitchFamily="34" charset="0"/>
              </a:rPr>
              <a:t> images)</a:t>
            </a:r>
          </a:p>
          <a:p>
            <a:pPr marL="190800" lvl="1" indent="-190800" defTabSz="714375" fontAlgn="base">
              <a:spcAft>
                <a:spcPts val="120"/>
              </a:spcAft>
              <a:buClr>
                <a:schemeClr val="accent2">
                  <a:lumMod val="60000"/>
                  <a:lumOff val="40000"/>
                </a:schemeClr>
              </a:buClr>
            </a:pPr>
            <a:r>
              <a:rPr lang="en-US" sz="1100" dirty="0">
                <a:latin typeface="Calibri" pitchFamily="34" charset="0"/>
              </a:rPr>
              <a:t> Scalable and resilient UI web browser environment (Selenium Grid) </a:t>
            </a:r>
          </a:p>
        </p:txBody>
      </p:sp>
      <p:sp>
        <p:nvSpPr>
          <p:cNvPr id="3486724" name="Rectangle 4"/>
          <p:cNvSpPr>
            <a:spLocks noChangeArrowheads="1"/>
          </p:cNvSpPr>
          <p:nvPr/>
        </p:nvSpPr>
        <p:spPr bwMode="auto">
          <a:xfrm>
            <a:off x="0" y="-192360"/>
            <a:ext cx="18473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2" name="Group 33"/>
          <p:cNvGrpSpPr/>
          <p:nvPr/>
        </p:nvGrpSpPr>
        <p:grpSpPr>
          <a:xfrm>
            <a:off x="6105160" y="945053"/>
            <a:ext cx="2880400" cy="2717800"/>
            <a:chOff x="6753206" y="3235076"/>
            <a:chExt cx="2880400" cy="2717800"/>
          </a:xfrm>
        </p:grpSpPr>
        <p:graphicFrame>
          <p:nvGraphicFramePr>
            <p:cNvPr id="39" name="Diagram 38"/>
            <p:cNvGraphicFramePr/>
            <p:nvPr/>
          </p:nvGraphicFramePr>
          <p:xfrm>
            <a:off x="6753206" y="3486713"/>
            <a:ext cx="2880400" cy="23763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3" r:lo="rId14" r:qs="rId15" r:cs="rId16"/>
            </a:graphicData>
          </a:graphic>
        </p:graphicFrame>
        <p:grpSp>
          <p:nvGrpSpPr>
            <p:cNvPr id="3" name="Group 32"/>
            <p:cNvGrpSpPr/>
            <p:nvPr/>
          </p:nvGrpSpPr>
          <p:grpSpPr>
            <a:xfrm>
              <a:off x="6808135" y="3235076"/>
              <a:ext cx="566088" cy="2717800"/>
              <a:chOff x="6955074" y="3090315"/>
              <a:chExt cx="566088" cy="2717800"/>
            </a:xfrm>
          </p:grpSpPr>
          <p:sp>
            <p:nvSpPr>
              <p:cNvPr id="43" name="Right Arrow 42"/>
              <p:cNvSpPr/>
              <p:nvPr/>
            </p:nvSpPr>
            <p:spPr>
              <a:xfrm rot="7351886">
                <a:off x="6389860" y="4375334"/>
                <a:ext cx="2026359" cy="236245"/>
              </a:xfrm>
              <a:prstGeom prst="rightArrow">
                <a:avLst/>
              </a:prstGeom>
              <a:solidFill>
                <a:schemeClr val="accent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 rot="18163968">
                <a:off x="5796229" y="4249160"/>
                <a:ext cx="27178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DevOps</a:t>
                </a: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83C7206-A3F2-4F29-B086-0522947D8B8E}"/>
              </a:ext>
            </a:extLst>
          </p:cNvPr>
          <p:cNvGrpSpPr/>
          <p:nvPr/>
        </p:nvGrpSpPr>
        <p:grpSpPr>
          <a:xfrm>
            <a:off x="5601090" y="3789050"/>
            <a:ext cx="4016870" cy="2304320"/>
            <a:chOff x="5601090" y="3789050"/>
            <a:chExt cx="4016870" cy="2304320"/>
          </a:xfrm>
        </p:grpSpPr>
        <p:grpSp>
          <p:nvGrpSpPr>
            <p:cNvPr id="36" name="Group 35"/>
            <p:cNvGrpSpPr/>
            <p:nvPr/>
          </p:nvGrpSpPr>
          <p:grpSpPr>
            <a:xfrm>
              <a:off x="5601090" y="3789050"/>
              <a:ext cx="4016870" cy="2304320"/>
              <a:chOff x="5889130" y="1628750"/>
              <a:chExt cx="4016870" cy="2304320"/>
            </a:xfrm>
          </p:grpSpPr>
          <p:graphicFrame>
            <p:nvGraphicFramePr>
              <p:cNvPr id="45" name="Content Placeholder 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504306919"/>
                  </p:ext>
                </p:extLst>
              </p:nvPr>
            </p:nvGraphicFramePr>
            <p:xfrm>
              <a:off x="5889130" y="1628750"/>
              <a:ext cx="4016870" cy="230432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8" r:lo="rId19" r:qs="rId20" r:cs="rId21"/>
              </a:graphicData>
            </a:graphic>
          </p:graphicFrame>
          <p:pic>
            <p:nvPicPr>
              <p:cNvPr id="53" name="Picture 6" descr="http://www.seleniumhq.org/images/big-logo.png"/>
              <p:cNvPicPr>
                <a:picLocks noChangeAspect="1"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9406570" y="2276840"/>
                <a:ext cx="469039" cy="432060"/>
              </a:xfrm>
              <a:prstGeom prst="rect">
                <a:avLst/>
              </a:prstGeom>
              <a:noFill/>
            </p:spPr>
          </p:pic>
          <p:pic>
            <p:nvPicPr>
              <p:cNvPr id="173059" name="Picture 3" descr="C:\Users\lustefan\Downloads\cucumber.png"/>
              <p:cNvPicPr>
                <a:picLocks noChangeAspect="1" noChangeArrowheads="1"/>
              </p:cNvPicPr>
              <p:nvPr/>
            </p:nvPicPr>
            <p:blipFill>
              <a:blip r:embed="rId24"/>
              <a:srcRect/>
              <a:stretch>
                <a:fillRect/>
              </a:stretch>
            </p:blipFill>
            <p:spPr bwMode="auto">
              <a:xfrm>
                <a:off x="6485872" y="2348850"/>
                <a:ext cx="339388" cy="339388"/>
              </a:xfrm>
              <a:prstGeom prst="rect">
                <a:avLst/>
              </a:prstGeom>
              <a:noFill/>
            </p:spPr>
          </p:pic>
          <p:pic>
            <p:nvPicPr>
              <p:cNvPr id="173061" name="Picture 5" descr="C:\Users\lustefan\Downloads\db.png"/>
              <p:cNvPicPr>
                <a:picLocks noChangeAspect="1" noChangeArrowheads="1"/>
              </p:cNvPicPr>
              <p:nvPr/>
            </p:nvPicPr>
            <p:blipFill>
              <a:blip r:embed="rId25"/>
              <a:srcRect/>
              <a:stretch>
                <a:fillRect/>
              </a:stretch>
            </p:blipFill>
            <p:spPr bwMode="auto">
              <a:xfrm>
                <a:off x="8917817" y="2852920"/>
                <a:ext cx="988183" cy="429645"/>
              </a:xfrm>
              <a:prstGeom prst="rect">
                <a:avLst/>
              </a:prstGeom>
              <a:noFill/>
            </p:spPr>
          </p:pic>
          <p:pic>
            <p:nvPicPr>
              <p:cNvPr id="173062" name="Picture 6" descr="C:\Users\lustefan\Downloads\AAEAAQAAAAAAAAeaAAAAJDVkNDMxNmJlLWJmOGEtNDg0Mi1hOWQxLWEzZjBlYWYyZjAxZA.png"/>
              <p:cNvPicPr>
                <a:picLocks noChangeAspect="1" noChangeArrowheads="1"/>
              </p:cNvPicPr>
              <p:nvPr/>
            </p:nvPicPr>
            <p:blipFill>
              <a:blip r:embed="rId26"/>
              <a:srcRect/>
              <a:stretch>
                <a:fillRect/>
              </a:stretch>
            </p:blipFill>
            <p:spPr bwMode="auto">
              <a:xfrm>
                <a:off x="5961140" y="2852920"/>
                <a:ext cx="682540" cy="413952"/>
              </a:xfrm>
              <a:prstGeom prst="rect">
                <a:avLst/>
              </a:prstGeom>
              <a:noFill/>
            </p:spPr>
          </p:pic>
        </p:grpSp>
        <p:pic>
          <p:nvPicPr>
            <p:cNvPr id="173065" name="Picture 9" descr="C:\Users\lustefan\Downloads\unnamed.png"/>
            <p:cNvPicPr>
              <a:picLocks noChangeAspect="1" noChangeArrowheads="1"/>
            </p:cNvPicPr>
            <p:nvPr/>
          </p:nvPicPr>
          <p:blipFill>
            <a:blip r:embed="rId27"/>
            <a:srcRect/>
            <a:stretch>
              <a:fillRect/>
            </a:stretch>
          </p:blipFill>
          <p:spPr bwMode="auto">
            <a:xfrm>
              <a:off x="5745005" y="4509150"/>
              <a:ext cx="360155" cy="360155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en-US" sz="2500" b="1" dirty="0"/>
              <a:t>Standalone app test module</a:t>
            </a:r>
            <a:r>
              <a:rPr lang="pl-PL" sz="2500" b="1" dirty="0"/>
              <a:t>* </a:t>
            </a:r>
            <a:r>
              <a:rPr lang="en-US" sz="2500" b="1" dirty="0"/>
              <a:t>ingredients</a:t>
            </a:r>
            <a:r>
              <a:rPr lang="pl-PL" sz="2500" b="1" dirty="0"/>
              <a:t> </a:t>
            </a:r>
            <a:endParaRPr lang="en-US" sz="2500" b="1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4046623"/>
              </p:ext>
            </p:extLst>
          </p:nvPr>
        </p:nvGraphicFramePr>
        <p:xfrm>
          <a:off x="482435" y="1176823"/>
          <a:ext cx="89154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88418" name="Picture 2" descr="Znalezione obrazy dla zapytania java swing app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51890" y="188550"/>
            <a:ext cx="929600" cy="697200"/>
          </a:xfrm>
          <a:prstGeom prst="rect">
            <a:avLst/>
          </a:prstGeom>
          <a:noFill/>
        </p:spPr>
      </p:pic>
      <p:pic>
        <p:nvPicPr>
          <p:cNvPr id="10" name="Picture 4" descr="Znalezione obrazy dla zapytania java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857230" y="116540"/>
            <a:ext cx="776420" cy="776420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/>
        </p:nvSpPr>
        <p:spPr>
          <a:xfrm>
            <a:off x="7761390" y="6093370"/>
            <a:ext cx="21018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/>
              <a:t>*  - task not started, to be defined</a:t>
            </a:r>
          </a:p>
        </p:txBody>
      </p:sp>
    </p:spTree>
    <p:extLst>
      <p:ext uri="{BB962C8B-B14F-4D97-AF65-F5344CB8AC3E}">
        <p14:creationId xmlns:p14="http://schemas.microsoft.com/office/powerpoint/2010/main" val="3119116334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pl-PL" sz="2500" b="1" dirty="0"/>
              <a:t>E2E </a:t>
            </a:r>
            <a:r>
              <a:rPr lang="en-US" sz="2500" b="1" dirty="0"/>
              <a:t>Test Framework for DevOps &amp; Smart Automation</a:t>
            </a:r>
          </a:p>
        </p:txBody>
      </p:sp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0" name="think-cell Folie" r:id="rId5" imgW="0" imgH="0" progId="">
                  <p:embed/>
                </p:oleObj>
              </mc:Choice>
              <mc:Fallback>
                <p:oleObj name="think-cell Folie" r:id="rId5" imgW="0" imgH="0" progId="">
                  <p:embed/>
                  <p:pic>
                    <p:nvPicPr>
                      <p:cNvPr id="17" name="Objec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6724" name="Rectangle 4"/>
          <p:cNvSpPr>
            <a:spLocks noChangeArrowheads="1"/>
          </p:cNvSpPr>
          <p:nvPr/>
        </p:nvSpPr>
        <p:spPr bwMode="auto">
          <a:xfrm>
            <a:off x="0" y="-192360"/>
            <a:ext cx="18473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2" name="Group 33"/>
          <p:cNvGrpSpPr/>
          <p:nvPr/>
        </p:nvGrpSpPr>
        <p:grpSpPr>
          <a:xfrm>
            <a:off x="1064460" y="1322887"/>
            <a:ext cx="2384754" cy="2250133"/>
            <a:chOff x="6753206" y="3235076"/>
            <a:chExt cx="2880400" cy="2717800"/>
          </a:xfrm>
        </p:grpSpPr>
        <p:graphicFrame>
          <p:nvGraphicFramePr>
            <p:cNvPr id="39" name="Diagram 38"/>
            <p:cNvGraphicFramePr/>
            <p:nvPr/>
          </p:nvGraphicFramePr>
          <p:xfrm>
            <a:off x="6753206" y="3486713"/>
            <a:ext cx="2880400" cy="23763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grpSp>
          <p:nvGrpSpPr>
            <p:cNvPr id="3" name="Group 32"/>
            <p:cNvGrpSpPr/>
            <p:nvPr/>
          </p:nvGrpSpPr>
          <p:grpSpPr>
            <a:xfrm>
              <a:off x="6808135" y="3235076"/>
              <a:ext cx="566088" cy="2717800"/>
              <a:chOff x="6955074" y="3090315"/>
              <a:chExt cx="566088" cy="2717800"/>
            </a:xfrm>
          </p:grpSpPr>
          <p:sp>
            <p:nvSpPr>
              <p:cNvPr id="43" name="Right Arrow 42"/>
              <p:cNvSpPr/>
              <p:nvPr/>
            </p:nvSpPr>
            <p:spPr>
              <a:xfrm rot="7351886">
                <a:off x="6389860" y="4375334"/>
                <a:ext cx="2026359" cy="236245"/>
              </a:xfrm>
              <a:prstGeom prst="rightArrow">
                <a:avLst/>
              </a:prstGeom>
              <a:solidFill>
                <a:schemeClr val="accent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 rot="18163968">
                <a:off x="5796229" y="4249160"/>
                <a:ext cx="27178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DevOps</a:t>
                </a: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83C7206-A3F2-4F29-B086-0522947D8B8E}"/>
              </a:ext>
            </a:extLst>
          </p:cNvPr>
          <p:cNvGrpSpPr/>
          <p:nvPr/>
        </p:nvGrpSpPr>
        <p:grpSpPr>
          <a:xfrm>
            <a:off x="560390" y="3789050"/>
            <a:ext cx="3368780" cy="1932536"/>
            <a:chOff x="5601090" y="3789050"/>
            <a:chExt cx="4016870" cy="2304320"/>
          </a:xfrm>
        </p:grpSpPr>
        <p:grpSp>
          <p:nvGrpSpPr>
            <p:cNvPr id="36" name="Group 35"/>
            <p:cNvGrpSpPr/>
            <p:nvPr/>
          </p:nvGrpSpPr>
          <p:grpSpPr>
            <a:xfrm>
              <a:off x="5601090" y="3789050"/>
              <a:ext cx="4016870" cy="2304320"/>
              <a:chOff x="5889130" y="1628750"/>
              <a:chExt cx="4016870" cy="2304320"/>
            </a:xfrm>
          </p:grpSpPr>
          <p:graphicFrame>
            <p:nvGraphicFramePr>
              <p:cNvPr id="45" name="Content Placeholder 6"/>
              <p:cNvGraphicFramePr>
                <a:graphicFrameLocks/>
              </p:cNvGraphicFramePr>
              <p:nvPr>
                <p:extLst/>
              </p:nvPr>
            </p:nvGraphicFramePr>
            <p:xfrm>
              <a:off x="5889130" y="1628750"/>
              <a:ext cx="4016870" cy="230432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1" r:lo="rId12" r:qs="rId13" r:cs="rId14"/>
              </a:graphicData>
            </a:graphic>
          </p:graphicFrame>
          <p:pic>
            <p:nvPicPr>
              <p:cNvPr id="53" name="Picture 6" descr="http://www.seleniumhq.org/images/big-logo.png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9406570" y="2276840"/>
                <a:ext cx="469039" cy="432060"/>
              </a:xfrm>
              <a:prstGeom prst="rect">
                <a:avLst/>
              </a:prstGeom>
              <a:noFill/>
            </p:spPr>
          </p:pic>
          <p:pic>
            <p:nvPicPr>
              <p:cNvPr id="173059" name="Picture 3" descr="C:\Users\lustefan\Downloads\cucumber.png"/>
              <p:cNvPicPr>
                <a:picLocks noChangeAspect="1" noChangeArrowheads="1"/>
              </p:cNvPicPr>
              <p:nvPr/>
            </p:nvPicPr>
            <p:blipFill>
              <a:blip r:embed="rId17"/>
              <a:srcRect/>
              <a:stretch>
                <a:fillRect/>
              </a:stretch>
            </p:blipFill>
            <p:spPr bwMode="auto">
              <a:xfrm>
                <a:off x="6485872" y="2348850"/>
                <a:ext cx="339388" cy="339388"/>
              </a:xfrm>
              <a:prstGeom prst="rect">
                <a:avLst/>
              </a:prstGeom>
              <a:noFill/>
            </p:spPr>
          </p:pic>
          <p:pic>
            <p:nvPicPr>
              <p:cNvPr id="173061" name="Picture 5" descr="C:\Users\lustefan\Downloads\db.png"/>
              <p:cNvPicPr>
                <a:picLocks noChangeAspect="1" noChangeArrowheads="1"/>
              </p:cNvPicPr>
              <p:nvPr/>
            </p:nvPicPr>
            <p:blipFill>
              <a:blip r:embed="rId18"/>
              <a:srcRect/>
              <a:stretch>
                <a:fillRect/>
              </a:stretch>
            </p:blipFill>
            <p:spPr bwMode="auto">
              <a:xfrm>
                <a:off x="8917817" y="2852920"/>
                <a:ext cx="988183" cy="429645"/>
              </a:xfrm>
              <a:prstGeom prst="rect">
                <a:avLst/>
              </a:prstGeom>
              <a:noFill/>
            </p:spPr>
          </p:pic>
          <p:pic>
            <p:nvPicPr>
              <p:cNvPr id="173062" name="Picture 6" descr="C:\Users\lustefan\Downloads\AAEAAQAAAAAAAAeaAAAAJDVkNDMxNmJlLWJmOGEtNDg0Mi1hOWQxLWEzZjBlYWYyZjAxZA.png"/>
              <p:cNvPicPr>
                <a:picLocks noChangeAspect="1" noChangeArrowheads="1"/>
              </p:cNvPicPr>
              <p:nvPr/>
            </p:nvPicPr>
            <p:blipFill>
              <a:blip r:embed="rId19"/>
              <a:srcRect/>
              <a:stretch>
                <a:fillRect/>
              </a:stretch>
            </p:blipFill>
            <p:spPr bwMode="auto">
              <a:xfrm>
                <a:off x="5961140" y="2852920"/>
                <a:ext cx="682540" cy="413952"/>
              </a:xfrm>
              <a:prstGeom prst="rect">
                <a:avLst/>
              </a:prstGeom>
              <a:noFill/>
            </p:spPr>
          </p:pic>
        </p:grpSp>
        <p:pic>
          <p:nvPicPr>
            <p:cNvPr id="173065" name="Picture 9" descr="C:\Users\lustefan\Downloads\unnamed.png"/>
            <p:cNvPicPr>
              <a:picLocks noChangeAspect="1" noChangeArrowheads="1"/>
            </p:cNvPicPr>
            <p:nvPr/>
          </p:nvPicPr>
          <p:blipFill>
            <a:blip r:embed="rId20"/>
            <a:srcRect/>
            <a:stretch>
              <a:fillRect/>
            </a:stretch>
          </p:blipFill>
          <p:spPr bwMode="auto">
            <a:xfrm>
              <a:off x="5745005" y="4509150"/>
              <a:ext cx="360155" cy="360155"/>
            </a:xfrm>
            <a:prstGeom prst="rect">
              <a:avLst/>
            </a:prstGeom>
            <a:noFill/>
          </p:spPr>
        </p:pic>
      </p:grp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E30ADA3-5412-4FA3-9F0B-1728C62CF5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3876399"/>
              </p:ext>
            </p:extLst>
          </p:nvPr>
        </p:nvGraphicFramePr>
        <p:xfrm>
          <a:off x="4397582" y="1573063"/>
          <a:ext cx="5092048" cy="4088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</p:spTree>
    <p:extLst>
      <p:ext uri="{BB962C8B-B14F-4D97-AF65-F5344CB8AC3E}">
        <p14:creationId xmlns:p14="http://schemas.microsoft.com/office/powerpoint/2010/main" val="214613068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Where we all are</a:t>
            </a:r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344360" y="1988800"/>
          <a:ext cx="6336880" cy="3487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1732" name="Picture 4" descr="Podobny obraz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961140" y="2276840"/>
            <a:ext cx="2729850" cy="27298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812425" y="1628750"/>
            <a:ext cx="8281150" cy="3816530"/>
            <a:chOff x="704410" y="1628750"/>
            <a:chExt cx="8281150" cy="3816530"/>
          </a:xfrm>
        </p:grpSpPr>
        <p:graphicFrame>
          <p:nvGraphicFramePr>
            <p:cNvPr id="5" name="Diagram 4"/>
            <p:cNvGraphicFramePr/>
            <p:nvPr>
              <p:extLst/>
            </p:nvPr>
          </p:nvGraphicFramePr>
          <p:xfrm>
            <a:off x="2504660" y="1628750"/>
            <a:ext cx="6480900" cy="37755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8" name="Diagram 7"/>
            <p:cNvGraphicFramePr/>
            <p:nvPr/>
          </p:nvGraphicFramePr>
          <p:xfrm>
            <a:off x="704410" y="1628750"/>
            <a:ext cx="3008730" cy="38165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  <p:sp>
        <p:nvSpPr>
          <p:cNvPr id="25" name="Rectangle 24"/>
          <p:cNvSpPr/>
          <p:nvPr/>
        </p:nvSpPr>
        <p:spPr>
          <a:xfrm>
            <a:off x="7761390" y="6093370"/>
            <a:ext cx="21018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/>
              <a:t>*  - task not started, to be defined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Benefits to project</a:t>
            </a:r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1100465" y="1685040"/>
          <a:ext cx="7705070" cy="4120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b="1" dirty="0"/>
              <a:t>E2E Test Framework modules</a:t>
            </a:r>
          </a:p>
        </p:txBody>
      </p:sp>
      <p:graphicFrame>
        <p:nvGraphicFramePr>
          <p:cNvPr id="7" name="Diagram 6"/>
          <p:cNvGraphicFramePr/>
          <p:nvPr/>
        </p:nvGraphicFramePr>
        <p:xfrm>
          <a:off x="344360" y="1412720"/>
          <a:ext cx="9273600" cy="47936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927299" y="6383218"/>
            <a:ext cx="2978701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*)  - task not started, to be planned 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pl-PL" sz="2500" b="1" dirty="0"/>
              <a:t>Mr Checker E2E </a:t>
            </a:r>
            <a:r>
              <a:rPr lang="en-US" sz="2500" b="1" dirty="0"/>
              <a:t>Framework road map</a:t>
            </a:r>
          </a:p>
        </p:txBody>
      </p:sp>
      <p:cxnSp>
        <p:nvCxnSpPr>
          <p:cNvPr id="149" name="OTLSHAPE_TB_00000000000000000000000000000000_Separator1"/>
          <p:cNvCxnSpPr/>
          <p:nvPr>
            <p:custDataLst>
              <p:tags r:id="rId1"/>
            </p:custDataLst>
          </p:nvPr>
        </p:nvCxnSpPr>
        <p:spPr>
          <a:xfrm>
            <a:off x="3133991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OTLSHAPE_TB_00000000000000000000000000000000_Separator1"/>
          <p:cNvCxnSpPr/>
          <p:nvPr>
            <p:custDataLst>
              <p:tags r:id="rId2"/>
            </p:custDataLst>
          </p:nvPr>
        </p:nvCxnSpPr>
        <p:spPr>
          <a:xfrm>
            <a:off x="3869642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OTLSHAPE_TB_00000000000000000000000000000000_Separator1"/>
          <p:cNvCxnSpPr/>
          <p:nvPr>
            <p:custDataLst>
              <p:tags r:id="rId3"/>
            </p:custDataLst>
          </p:nvPr>
        </p:nvCxnSpPr>
        <p:spPr>
          <a:xfrm>
            <a:off x="4605294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OTLSHAPE_TB_00000000000000000000000000000000_Separator1"/>
          <p:cNvCxnSpPr/>
          <p:nvPr>
            <p:custDataLst>
              <p:tags r:id="rId4"/>
            </p:custDataLst>
          </p:nvPr>
        </p:nvCxnSpPr>
        <p:spPr>
          <a:xfrm>
            <a:off x="5340945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OTLSHAPE_TB_00000000000000000000000000000000_Separator1"/>
          <p:cNvCxnSpPr/>
          <p:nvPr>
            <p:custDataLst>
              <p:tags r:id="rId5"/>
            </p:custDataLst>
          </p:nvPr>
        </p:nvCxnSpPr>
        <p:spPr>
          <a:xfrm>
            <a:off x="6076597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OTLSHAPE_TB_00000000000000000000000000000000_Separator1"/>
          <p:cNvCxnSpPr/>
          <p:nvPr>
            <p:custDataLst>
              <p:tags r:id="rId6"/>
            </p:custDataLst>
          </p:nvPr>
        </p:nvCxnSpPr>
        <p:spPr>
          <a:xfrm>
            <a:off x="6750944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OTLSHAPE_TB_00000000000000000000000000000000_Separator1"/>
          <p:cNvCxnSpPr/>
          <p:nvPr>
            <p:custDataLst>
              <p:tags r:id="rId7"/>
            </p:custDataLst>
          </p:nvPr>
        </p:nvCxnSpPr>
        <p:spPr>
          <a:xfrm>
            <a:off x="7425291" y="2747435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OTLSHAPE_TB_00000000000000000000000000000000_Separator1"/>
          <p:cNvCxnSpPr/>
          <p:nvPr>
            <p:custDataLst>
              <p:tags r:id="rId8"/>
            </p:custDataLst>
          </p:nvPr>
        </p:nvCxnSpPr>
        <p:spPr>
          <a:xfrm>
            <a:off x="8222247" y="2703534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OTLSHAPE_TB_00000000000000000000000000000000_Separator1"/>
          <p:cNvCxnSpPr/>
          <p:nvPr>
            <p:custDataLst>
              <p:tags r:id="rId9"/>
            </p:custDataLst>
          </p:nvPr>
        </p:nvCxnSpPr>
        <p:spPr>
          <a:xfrm>
            <a:off x="2398340" y="2717192"/>
            <a:ext cx="0" cy="3216587"/>
          </a:xfrm>
          <a:prstGeom prst="line">
            <a:avLst/>
          </a:prstGeom>
          <a:ln w="19050" cap="flat" cmpd="sng" algn="ctr">
            <a:solidFill>
              <a:schemeClr val="tx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OTLSHAPE_TB_00000000000000000000000000000000_ScaleContainer"/>
          <p:cNvSpPr/>
          <p:nvPr>
            <p:custDataLst>
              <p:tags r:id="rId10"/>
            </p:custDataLst>
          </p:nvPr>
        </p:nvSpPr>
        <p:spPr>
          <a:xfrm>
            <a:off x="1504316" y="2661236"/>
            <a:ext cx="6963244" cy="335739"/>
          </a:xfrm>
          <a:prstGeom prst="roundRect">
            <a:avLst>
              <a:gd name="adj" fmla="val 100000"/>
            </a:avLst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2" name="OTLSHAPE_TB_00000000000000000000000000000000_LeftEndCaps"/>
          <p:cNvSpPr txBox="1"/>
          <p:nvPr>
            <p:custDataLst>
              <p:tags r:id="rId11"/>
            </p:custDataLst>
          </p:nvPr>
        </p:nvSpPr>
        <p:spPr>
          <a:xfrm>
            <a:off x="905809" y="2690608"/>
            <a:ext cx="444930" cy="27699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ctr"/>
            <a:r>
              <a:rPr lang="en-US" sz="1800" spc="-27" dirty="0">
                <a:solidFill>
                  <a:srgbClr val="C0504D"/>
                </a:solidFill>
                <a:latin typeface="Corbel" panose="020B0503020204020204" pitchFamily="34" charset="0"/>
              </a:rPr>
              <a:t>2019</a:t>
            </a:r>
          </a:p>
        </p:txBody>
      </p:sp>
      <p:sp>
        <p:nvSpPr>
          <p:cNvPr id="163" name="OTLSHAPE_TB_00000000000000000000000000000000_RightEndCaps"/>
          <p:cNvSpPr txBox="1"/>
          <p:nvPr>
            <p:custDataLst>
              <p:tags r:id="rId12"/>
            </p:custDataLst>
          </p:nvPr>
        </p:nvSpPr>
        <p:spPr>
          <a:xfrm>
            <a:off x="8692032" y="2670962"/>
            <a:ext cx="447174" cy="27699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ctr"/>
            <a:r>
              <a:rPr lang="en-US" sz="1800" spc="-27" dirty="0">
                <a:solidFill>
                  <a:srgbClr val="C0504D"/>
                </a:solidFill>
                <a:latin typeface="Corbel" panose="020B0503020204020204" pitchFamily="34" charset="0"/>
              </a:rPr>
              <a:t>2020</a:t>
            </a:r>
          </a:p>
        </p:txBody>
      </p:sp>
      <p:grpSp>
        <p:nvGrpSpPr>
          <p:cNvPr id="168" name="Group 167"/>
          <p:cNvGrpSpPr/>
          <p:nvPr/>
        </p:nvGrpSpPr>
        <p:grpSpPr>
          <a:xfrm>
            <a:off x="1586544" y="3307610"/>
            <a:ext cx="3749623" cy="252763"/>
            <a:chOff x="2517541" y="4011028"/>
            <a:chExt cx="7701359" cy="170717"/>
          </a:xfrm>
        </p:grpSpPr>
        <p:sp>
          <p:nvSpPr>
            <p:cNvPr id="233" name="OTLSHAPE_T_06a6a20021ea4acdac20b41f7b37b0dd_Shape"/>
            <p:cNvSpPr/>
            <p:nvPr>
              <p:custDataLst>
                <p:tags r:id="rId53"/>
              </p:custDataLst>
            </p:nvPr>
          </p:nvSpPr>
          <p:spPr>
            <a:xfrm>
              <a:off x="2517541" y="4011028"/>
              <a:ext cx="7701359" cy="170717"/>
            </a:xfrm>
            <a:prstGeom prst="roundRect">
              <a:avLst>
                <a:gd name="adj" fmla="val 100000"/>
              </a:avLst>
            </a:prstGeom>
            <a:solidFill>
              <a:srgbClr val="0085B3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34" name="OTLSHAPE_T_06a6a20021ea4acdac20b41f7b37b0dd_Title"/>
            <p:cNvSpPr txBox="1"/>
            <p:nvPr>
              <p:custDataLst>
                <p:tags r:id="rId54"/>
              </p:custDataLst>
            </p:nvPr>
          </p:nvSpPr>
          <p:spPr>
            <a:xfrm>
              <a:off x="4420598" y="4040832"/>
              <a:ext cx="3824990" cy="11433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spc="-6" dirty="0">
                  <a:solidFill>
                    <a:schemeClr val="bg1"/>
                  </a:solidFill>
                  <a:latin typeface="Calibri" panose="020F0502020204030204" pitchFamily="34" charset="0"/>
                </a:rPr>
                <a:t>Application test  infrastructure</a:t>
              </a: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2389742" y="5568211"/>
            <a:ext cx="3665150" cy="210994"/>
            <a:chOff x="4306657" y="4226389"/>
            <a:chExt cx="4217389" cy="222870"/>
          </a:xfrm>
        </p:grpSpPr>
        <p:sp>
          <p:nvSpPr>
            <p:cNvPr id="230" name="OTLSHAPE_T_e6f5c918bdd649a1ac919cf22468a23b_Shape"/>
            <p:cNvSpPr/>
            <p:nvPr>
              <p:custDataLst>
                <p:tags r:id="rId51"/>
              </p:custDataLst>
            </p:nvPr>
          </p:nvSpPr>
          <p:spPr>
            <a:xfrm>
              <a:off x="4306657" y="4226389"/>
              <a:ext cx="4217389" cy="222870"/>
            </a:xfrm>
            <a:prstGeom prst="roundRect">
              <a:avLst>
                <a:gd name="adj" fmla="val 100000"/>
              </a:avLst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31" name="OTLSHAPE_T_e6f5c918bdd649a1ac919cf22468a23b_Title"/>
            <p:cNvSpPr txBox="1"/>
            <p:nvPr>
              <p:custDataLst>
                <p:tags r:id="rId52"/>
              </p:custDataLst>
            </p:nvPr>
          </p:nvSpPr>
          <p:spPr>
            <a:xfrm>
              <a:off x="4755277" y="4263317"/>
              <a:ext cx="3453010" cy="17880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WebAPI (REST) test modules</a:t>
              </a:r>
            </a:p>
          </p:txBody>
        </p:sp>
      </p:grpSp>
      <p:sp>
        <p:nvSpPr>
          <p:cNvPr id="173" name="OTLSHAPE_TB_00000000000000000000000000000000_TimescaleInterval7"/>
          <p:cNvSpPr txBox="1"/>
          <p:nvPr>
            <p:custDataLst>
              <p:tags r:id="rId13"/>
            </p:custDataLst>
          </p:nvPr>
        </p:nvSpPr>
        <p:spPr>
          <a:xfrm>
            <a:off x="1856570" y="2747131"/>
            <a:ext cx="168934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5" dirty="0">
                <a:latin typeface="Calibri" panose="020F0502020204030204" pitchFamily="34" charset="0"/>
              </a:rPr>
              <a:t>Apr</a:t>
            </a:r>
          </a:p>
        </p:txBody>
      </p:sp>
      <p:sp>
        <p:nvSpPr>
          <p:cNvPr id="174" name="OTLSHAPE_TB_00000000000000000000000000000000_TimescaleInterval8"/>
          <p:cNvSpPr txBox="1"/>
          <p:nvPr>
            <p:custDataLst>
              <p:tags r:id="rId14"/>
            </p:custDataLst>
          </p:nvPr>
        </p:nvSpPr>
        <p:spPr>
          <a:xfrm>
            <a:off x="2592240" y="2747131"/>
            <a:ext cx="16054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7" dirty="0">
                <a:latin typeface="Calibri" panose="020F0502020204030204" pitchFamily="34" charset="0"/>
              </a:rPr>
              <a:t>May</a:t>
            </a:r>
          </a:p>
        </p:txBody>
      </p:sp>
      <p:sp>
        <p:nvSpPr>
          <p:cNvPr id="175" name="OTLSHAPE_TB_00000000000000000000000000000000_TimescaleInterval2"/>
          <p:cNvSpPr txBox="1"/>
          <p:nvPr>
            <p:custDataLst>
              <p:tags r:id="rId15"/>
            </p:custDataLst>
          </p:nvPr>
        </p:nvSpPr>
        <p:spPr>
          <a:xfrm>
            <a:off x="3307254" y="2747131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Jun</a:t>
            </a:r>
          </a:p>
        </p:txBody>
      </p:sp>
      <p:sp>
        <p:nvSpPr>
          <p:cNvPr id="176" name="OTLSHAPE_TB_00000000000000000000000000000000_TimescaleInterval2"/>
          <p:cNvSpPr txBox="1"/>
          <p:nvPr>
            <p:custDataLst>
              <p:tags r:id="rId16"/>
            </p:custDataLst>
          </p:nvPr>
        </p:nvSpPr>
        <p:spPr>
          <a:xfrm>
            <a:off x="4042885" y="2747131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Jul</a:t>
            </a:r>
          </a:p>
        </p:txBody>
      </p:sp>
      <p:sp>
        <p:nvSpPr>
          <p:cNvPr id="177" name="OTLSHAPE_TB_00000000000000000000000000000000_TimescaleInterval2"/>
          <p:cNvSpPr txBox="1"/>
          <p:nvPr>
            <p:custDataLst>
              <p:tags r:id="rId17"/>
            </p:custDataLst>
          </p:nvPr>
        </p:nvSpPr>
        <p:spPr>
          <a:xfrm>
            <a:off x="4676592" y="2747131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Aug</a:t>
            </a:r>
          </a:p>
        </p:txBody>
      </p:sp>
      <p:sp>
        <p:nvSpPr>
          <p:cNvPr id="178" name="OTLSHAPE_TB_00000000000000000000000000000000_TimescaleInterval2"/>
          <p:cNvSpPr txBox="1"/>
          <p:nvPr>
            <p:custDataLst>
              <p:tags r:id="rId18"/>
            </p:custDataLst>
          </p:nvPr>
        </p:nvSpPr>
        <p:spPr>
          <a:xfrm>
            <a:off x="5514188" y="2747131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Sep</a:t>
            </a:r>
          </a:p>
        </p:txBody>
      </p:sp>
      <p:grpSp>
        <p:nvGrpSpPr>
          <p:cNvPr id="179" name="Group 178"/>
          <p:cNvGrpSpPr/>
          <p:nvPr/>
        </p:nvGrpSpPr>
        <p:grpSpPr>
          <a:xfrm>
            <a:off x="5354397" y="4218673"/>
            <a:ext cx="2867850" cy="253564"/>
            <a:chOff x="4966822" y="4462465"/>
            <a:chExt cx="3250314" cy="311409"/>
          </a:xfrm>
        </p:grpSpPr>
        <p:sp>
          <p:nvSpPr>
            <p:cNvPr id="227" name="OTLSHAPE_T_e6f5c918bdd649a1ac919cf22468a23b_Shape"/>
            <p:cNvSpPr/>
            <p:nvPr>
              <p:custDataLst>
                <p:tags r:id="rId49"/>
              </p:custDataLst>
            </p:nvPr>
          </p:nvSpPr>
          <p:spPr>
            <a:xfrm>
              <a:off x="4966822" y="4462465"/>
              <a:ext cx="3250314" cy="311409"/>
            </a:xfrm>
            <a:prstGeom prst="roundRect">
              <a:avLst>
                <a:gd name="adj" fmla="val 100000"/>
              </a:avLst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28" name="OTLSHAPE_T_e6f5c918bdd649a1ac919cf22468a23b_Title"/>
            <p:cNvSpPr txBox="1"/>
            <p:nvPr>
              <p:custDataLst>
                <p:tags r:id="rId50"/>
              </p:custDataLst>
            </p:nvPr>
          </p:nvSpPr>
          <p:spPr>
            <a:xfrm>
              <a:off x="5589231" y="4537474"/>
              <a:ext cx="1688794" cy="18138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Security test modules</a:t>
              </a:r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3115998" y="4599436"/>
            <a:ext cx="2220169" cy="236468"/>
            <a:chOff x="6489647" y="4744102"/>
            <a:chExt cx="3078869" cy="205647"/>
          </a:xfrm>
        </p:grpSpPr>
        <p:sp>
          <p:nvSpPr>
            <p:cNvPr id="224" name="OTLSHAPE_T_e6f5c918bdd649a1ac919cf22468a23b_Shape"/>
            <p:cNvSpPr/>
            <p:nvPr>
              <p:custDataLst>
                <p:tags r:id="rId47"/>
              </p:custDataLst>
            </p:nvPr>
          </p:nvSpPr>
          <p:spPr>
            <a:xfrm>
              <a:off x="6489647" y="4744102"/>
              <a:ext cx="3078869" cy="205647"/>
            </a:xfrm>
            <a:prstGeom prst="roundRect">
              <a:avLst>
                <a:gd name="adj" fmla="val 100000"/>
              </a:avLst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25" name="OTLSHAPE_T_e6f5c918bdd649a1ac919cf22468a23b_Title"/>
            <p:cNvSpPr txBox="1"/>
            <p:nvPr>
              <p:custDataLst>
                <p:tags r:id="rId48"/>
              </p:custDataLst>
            </p:nvPr>
          </p:nvSpPr>
          <p:spPr>
            <a:xfrm>
              <a:off x="6838867" y="4773318"/>
              <a:ext cx="2447413" cy="14721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Database (SQL) test modules</a:t>
              </a: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6752003" y="6166760"/>
            <a:ext cx="2737627" cy="186657"/>
            <a:chOff x="6274009" y="5789820"/>
            <a:chExt cx="3215616" cy="211820"/>
          </a:xfrm>
        </p:grpSpPr>
        <p:sp>
          <p:nvSpPr>
            <p:cNvPr id="221" name="OTLSHAPE_T_e6f5c918bdd649a1ac919cf22468a23b_Shape"/>
            <p:cNvSpPr/>
            <p:nvPr>
              <p:custDataLst>
                <p:tags r:id="rId44"/>
              </p:custDataLst>
            </p:nvPr>
          </p:nvSpPr>
          <p:spPr>
            <a:xfrm>
              <a:off x="9057570" y="5789820"/>
              <a:ext cx="432053" cy="211820"/>
            </a:xfrm>
            <a:prstGeom prst="roundRect">
              <a:avLst>
                <a:gd name="adj" fmla="val 100000"/>
              </a:avLst>
            </a:prstGeom>
            <a:solidFill>
              <a:srgbClr val="7030A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22" name="OTLSHAPE_T_e6f5c918bdd649a1ac919cf22468a23b_Title"/>
            <p:cNvSpPr txBox="1"/>
            <p:nvPr>
              <p:custDataLst>
                <p:tags r:id="rId45"/>
              </p:custDataLst>
            </p:nvPr>
          </p:nvSpPr>
          <p:spPr>
            <a:xfrm>
              <a:off x="6274009" y="5809543"/>
              <a:ext cx="2711552" cy="192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dirty="0">
                  <a:solidFill>
                    <a:srgbClr val="000000"/>
                  </a:solidFill>
                  <a:latin typeface="Calibri"/>
                </a:rPr>
                <a:t>Standalone app (SWING) test modules</a:t>
              </a:r>
            </a:p>
          </p:txBody>
        </p:sp>
        <p:sp>
          <p:nvSpPr>
            <p:cNvPr id="223" name="OTLSHAPE_T_e6f5c918bdd649a1ac919cf22468a23b_JoinedDate"/>
            <p:cNvSpPr txBox="1"/>
            <p:nvPr>
              <p:custDataLst>
                <p:tags r:id="rId46"/>
              </p:custDataLst>
            </p:nvPr>
          </p:nvSpPr>
          <p:spPr>
            <a:xfrm>
              <a:off x="9129580" y="5809543"/>
              <a:ext cx="360045" cy="192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r>
                <a:rPr lang="en-US" sz="1100" spc="-3" dirty="0">
                  <a:solidFill>
                    <a:schemeClr val="bg1"/>
                  </a:solidFill>
                  <a:latin typeface="Calibri" panose="020F0502020204030204" pitchFamily="34" charset="0"/>
                </a:rPr>
                <a:t>TBD</a:t>
              </a: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6580528" y="5863139"/>
            <a:ext cx="2909100" cy="186651"/>
            <a:chOff x="6072596" y="5445287"/>
            <a:chExt cx="3417029" cy="211814"/>
          </a:xfrm>
        </p:grpSpPr>
        <p:sp>
          <p:nvSpPr>
            <p:cNvPr id="215" name="OTLSHAPE_T_e6f5c918bdd649a1ac919cf22468a23b_Title"/>
            <p:cNvSpPr txBox="1"/>
            <p:nvPr>
              <p:custDataLst>
                <p:tags r:id="rId41"/>
              </p:custDataLst>
            </p:nvPr>
          </p:nvSpPr>
          <p:spPr>
            <a:xfrm>
              <a:off x="6072596" y="5465004"/>
              <a:ext cx="2912964" cy="192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dirty="0">
                  <a:solidFill>
                    <a:srgbClr val="000000"/>
                  </a:solidFill>
                  <a:latin typeface="Calibri"/>
                </a:rPr>
                <a:t>Mobile Grid (Emulators Android)</a:t>
              </a:r>
            </a:p>
          </p:txBody>
        </p:sp>
        <p:sp>
          <p:nvSpPr>
            <p:cNvPr id="216" name="OTLSHAPE_T_e6f5c918bdd649a1ac919cf22468a23b_Shape"/>
            <p:cNvSpPr/>
            <p:nvPr>
              <p:custDataLst>
                <p:tags r:id="rId42"/>
              </p:custDataLst>
            </p:nvPr>
          </p:nvSpPr>
          <p:spPr>
            <a:xfrm>
              <a:off x="9057571" y="5445287"/>
              <a:ext cx="432054" cy="211814"/>
            </a:xfrm>
            <a:prstGeom prst="roundRect">
              <a:avLst>
                <a:gd name="adj" fmla="val 100000"/>
              </a:avLst>
            </a:prstGeom>
            <a:solidFill>
              <a:srgbClr val="7030A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17" name="OTLSHAPE_T_e6f5c918bdd649a1ac919cf22468a23b_JoinedDate"/>
            <p:cNvSpPr txBox="1"/>
            <p:nvPr>
              <p:custDataLst>
                <p:tags r:id="rId43"/>
              </p:custDataLst>
            </p:nvPr>
          </p:nvSpPr>
          <p:spPr>
            <a:xfrm>
              <a:off x="9129581" y="5465003"/>
              <a:ext cx="315943" cy="192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r>
                <a:rPr lang="en-US" sz="1100" spc="-3" dirty="0">
                  <a:solidFill>
                    <a:schemeClr val="bg1"/>
                  </a:solidFill>
                  <a:latin typeface="Calibri" panose="020F0502020204030204" pitchFamily="34" charset="0"/>
                </a:rPr>
                <a:t>TBD</a:t>
              </a: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4953000" y="1261529"/>
            <a:ext cx="735974" cy="629992"/>
            <a:chOff x="5241040" y="1959937"/>
            <a:chExt cx="864474" cy="714923"/>
          </a:xfrm>
        </p:grpSpPr>
        <p:sp>
          <p:nvSpPr>
            <p:cNvPr id="211" name="OTLSHAPE_M_a54bc827b05146d18b559f618723e2b4_Shape"/>
            <p:cNvSpPr/>
            <p:nvPr>
              <p:custDataLst>
                <p:tags r:id="rId39"/>
              </p:custDataLst>
            </p:nvPr>
          </p:nvSpPr>
          <p:spPr>
            <a:xfrm>
              <a:off x="5588166" y="2420860"/>
              <a:ext cx="228600" cy="254000"/>
            </a:xfrm>
            <a:prstGeom prst="teardrop">
              <a:avLst/>
            </a:prstGeom>
            <a:solidFill>
              <a:srgbClr val="087FC3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13" name="OTLSHAPE_M_a54bc827b05146d18b559f618723e2b4_Title"/>
            <p:cNvSpPr txBox="1"/>
            <p:nvPr>
              <p:custDataLst>
                <p:tags r:id="rId40"/>
              </p:custDataLst>
            </p:nvPr>
          </p:nvSpPr>
          <p:spPr>
            <a:xfrm>
              <a:off x="5241040" y="1959937"/>
              <a:ext cx="864474" cy="38419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0D88D0"/>
                  </a:solidFill>
                  <a:latin typeface="Calibri" panose="020F0502020204030204" pitchFamily="34" charset="0"/>
                </a:rPr>
                <a:t>Application infr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B184834-ABB3-494E-9105-297BF78FF843}"/>
              </a:ext>
            </a:extLst>
          </p:cNvPr>
          <p:cNvGrpSpPr/>
          <p:nvPr/>
        </p:nvGrpSpPr>
        <p:grpSpPr>
          <a:xfrm>
            <a:off x="7906248" y="1988332"/>
            <a:ext cx="735974" cy="669722"/>
            <a:chOff x="4308994" y="1974964"/>
            <a:chExt cx="735974" cy="669722"/>
          </a:xfrm>
        </p:grpSpPr>
        <p:sp>
          <p:nvSpPr>
            <p:cNvPr id="185" name="OTLSHAPE_M_a54bc827b05146d18b559f618723e2b4_Shape"/>
            <p:cNvSpPr/>
            <p:nvPr>
              <p:custDataLst>
                <p:tags r:id="rId37"/>
              </p:custDataLst>
            </p:nvPr>
          </p:nvSpPr>
          <p:spPr>
            <a:xfrm>
              <a:off x="4533009" y="2420860"/>
              <a:ext cx="194619" cy="223826"/>
            </a:xfrm>
            <a:prstGeom prst="teardrop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87" name="OTLSHAPE_M_a54bc827b05146d18b559f618723e2b4_Title"/>
            <p:cNvSpPr txBox="1"/>
            <p:nvPr>
              <p:custDataLst>
                <p:tags r:id="rId38"/>
              </p:custDataLst>
            </p:nvPr>
          </p:nvSpPr>
          <p:spPr>
            <a:xfrm>
              <a:off x="4308994" y="1974964"/>
              <a:ext cx="735974" cy="33855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00B050"/>
                  </a:solidFill>
                  <a:latin typeface="Calibri" panose="020F0502020204030204" pitchFamily="34" charset="0"/>
                </a:rPr>
                <a:t>Security modul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26957EB-1D2F-4654-B630-2175BA469765}"/>
              </a:ext>
            </a:extLst>
          </p:cNvPr>
          <p:cNvGrpSpPr/>
          <p:nvPr/>
        </p:nvGrpSpPr>
        <p:grpSpPr>
          <a:xfrm>
            <a:off x="4974332" y="2007483"/>
            <a:ext cx="730959" cy="640728"/>
            <a:chOff x="5661584" y="1996078"/>
            <a:chExt cx="730959" cy="640728"/>
          </a:xfrm>
        </p:grpSpPr>
        <p:sp>
          <p:nvSpPr>
            <p:cNvPr id="239" name="OTLSHAPE_M_7f583de0854a4cacb89837f3a379bb4a_Title"/>
            <p:cNvSpPr txBox="1"/>
            <p:nvPr>
              <p:custDataLst>
                <p:tags r:id="rId35"/>
              </p:custDataLst>
            </p:nvPr>
          </p:nvSpPr>
          <p:spPr>
            <a:xfrm>
              <a:off x="5661584" y="1996078"/>
              <a:ext cx="730959" cy="33855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FFC000"/>
                  </a:solidFill>
                  <a:latin typeface="Calibri" panose="020F0502020204030204" pitchFamily="34" charset="0"/>
                </a:rPr>
                <a:t>Database test module</a:t>
              </a:r>
            </a:p>
          </p:txBody>
        </p:sp>
        <p:sp>
          <p:nvSpPr>
            <p:cNvPr id="189" name="OTLSHAPE_M_a54bc827b05146d18b559f618723e2b4_Shape"/>
            <p:cNvSpPr/>
            <p:nvPr>
              <p:custDataLst>
                <p:tags r:id="rId36"/>
              </p:custDataLst>
            </p:nvPr>
          </p:nvSpPr>
          <p:spPr>
            <a:xfrm>
              <a:off x="5910541" y="2412980"/>
              <a:ext cx="194619" cy="223826"/>
            </a:xfrm>
            <a:prstGeom prst="teardrop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6485397" y="5532226"/>
            <a:ext cx="3004232" cy="180961"/>
            <a:chOff x="6744833" y="5559228"/>
            <a:chExt cx="3528770" cy="205356"/>
          </a:xfrm>
        </p:grpSpPr>
        <p:sp>
          <p:nvSpPr>
            <p:cNvPr id="199" name="OTLSHAPE_T_e6f5c918bdd649a1ac919cf22468a23b_Title"/>
            <p:cNvSpPr txBox="1"/>
            <p:nvPr>
              <p:custDataLst>
                <p:tags r:id="rId32"/>
              </p:custDataLst>
            </p:nvPr>
          </p:nvSpPr>
          <p:spPr>
            <a:xfrm>
              <a:off x="6744833" y="5572487"/>
              <a:ext cx="3023577" cy="192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en-US" sz="1100" b="1" dirty="0">
                  <a:solidFill>
                    <a:srgbClr val="000000"/>
                  </a:solidFill>
                  <a:latin typeface="Calibri"/>
                </a:rPr>
                <a:t>Mobile App (Appium Android) test modules</a:t>
              </a:r>
            </a:p>
          </p:txBody>
        </p:sp>
        <p:grpSp>
          <p:nvGrpSpPr>
            <p:cNvPr id="200" name="Group 199"/>
            <p:cNvGrpSpPr/>
            <p:nvPr/>
          </p:nvGrpSpPr>
          <p:grpSpPr>
            <a:xfrm>
              <a:off x="9841545" y="5559228"/>
              <a:ext cx="432058" cy="203573"/>
              <a:chOff x="9841545" y="5559228"/>
              <a:chExt cx="432058" cy="203573"/>
            </a:xfrm>
          </p:grpSpPr>
          <p:sp>
            <p:nvSpPr>
              <p:cNvPr id="201" name="OTLSHAPE_T_e6f5c918bdd649a1ac919cf22468a23b_Shape"/>
              <p:cNvSpPr/>
              <p:nvPr>
                <p:custDataLst>
                  <p:tags r:id="rId33"/>
                </p:custDataLst>
              </p:nvPr>
            </p:nvSpPr>
            <p:spPr>
              <a:xfrm>
                <a:off x="9841545" y="5559228"/>
                <a:ext cx="432057" cy="203573"/>
              </a:xfrm>
              <a:prstGeom prst="roundRect">
                <a:avLst>
                  <a:gd name="adj" fmla="val 100000"/>
                </a:avLst>
              </a:prstGeom>
              <a:solidFill>
                <a:srgbClr val="7030A0"/>
              </a:solidFill>
              <a:ln w="12700" cap="flat" cmpd="sng" algn="ctr">
                <a:noFill/>
                <a:prstDash val="solid"/>
                <a:miter lim="800000"/>
              </a:ln>
              <a:effectLst/>
              <a:scene3d>
                <a:camera prst="orthographicFront"/>
                <a:lightRig rig="balanced" dir="t">
                  <a:rot lat="0" lon="0" rev="8700000"/>
                </a:lightRig>
              </a:scene3d>
              <a:sp3d>
                <a:bevelT w="165100" h="12700"/>
              </a:sp3d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>
                        <a:scrgbClr r="0" g="0" b="0">
                          <a:alpha val="50000"/>
                        </a:scrgbClr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202" name="OTLSHAPE_T_e6f5c918bdd649a1ac919cf22468a23b_JoinedDate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9912425" y="5570702"/>
                <a:ext cx="361178" cy="19209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 anchorCtr="0">
                <a:spAutoFit/>
              </a:bodyPr>
              <a:lstStyle/>
              <a:p>
                <a:r>
                  <a:rPr lang="en-US" sz="1100" spc="-3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TBD</a:t>
                </a:r>
              </a:p>
            </p:txBody>
          </p:sp>
        </p:grpSp>
      </p:grpSp>
      <p:grpSp>
        <p:nvGrpSpPr>
          <p:cNvPr id="195" name="Group 194"/>
          <p:cNvGrpSpPr/>
          <p:nvPr/>
        </p:nvGrpSpPr>
        <p:grpSpPr>
          <a:xfrm>
            <a:off x="5705291" y="1880164"/>
            <a:ext cx="772152" cy="766627"/>
            <a:chOff x="6046770" y="1694928"/>
            <a:chExt cx="906969" cy="869976"/>
          </a:xfrm>
        </p:grpSpPr>
        <p:sp>
          <p:nvSpPr>
            <p:cNvPr id="196" name="OTLSHAPE_M_a54bc827b05146d18b559f618723e2b4_Shape"/>
            <p:cNvSpPr/>
            <p:nvPr>
              <p:custDataLst>
                <p:tags r:id="rId30"/>
              </p:custDataLst>
            </p:nvPr>
          </p:nvSpPr>
          <p:spPr>
            <a:xfrm>
              <a:off x="6347100" y="2310904"/>
              <a:ext cx="228600" cy="254000"/>
            </a:xfrm>
            <a:prstGeom prst="teardrop">
              <a:avLst/>
            </a:prstGeom>
            <a:solidFill>
              <a:srgbClr val="2C0C3E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331145"/>
                </a:solidFill>
              </a:endParaRPr>
            </a:p>
          </p:txBody>
        </p:sp>
        <p:sp>
          <p:nvSpPr>
            <p:cNvPr id="197" name="OTLSHAPE_M_a54bc827b05146d18b559f618723e2b4_Title"/>
            <p:cNvSpPr txBox="1"/>
            <p:nvPr>
              <p:custDataLst>
                <p:tags r:id="rId31"/>
              </p:custDataLst>
            </p:nvPr>
          </p:nvSpPr>
          <p:spPr>
            <a:xfrm>
              <a:off x="6046770" y="1694928"/>
              <a:ext cx="906969" cy="57629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321244"/>
                  </a:solidFill>
                  <a:latin typeface="Calibri" panose="020F0502020204030204" pitchFamily="34" charset="0"/>
                </a:rPr>
                <a:t>Service virtualization module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DBB3A58F-FE1A-4CC5-8E15-10FBF339C86F}"/>
              </a:ext>
            </a:extLst>
          </p:cNvPr>
          <p:cNvGrpSpPr/>
          <p:nvPr/>
        </p:nvGrpSpPr>
        <p:grpSpPr>
          <a:xfrm>
            <a:off x="3129364" y="3772796"/>
            <a:ext cx="2928453" cy="235529"/>
            <a:chOff x="4376920" y="4225697"/>
            <a:chExt cx="3369692" cy="248787"/>
          </a:xfrm>
        </p:grpSpPr>
        <p:sp>
          <p:nvSpPr>
            <p:cNvPr id="102" name="OTLSHAPE_T_e6f5c918bdd649a1ac919cf22468a23b_Shape">
              <a:extLst>
                <a:ext uri="{FF2B5EF4-FFF2-40B4-BE49-F238E27FC236}">
                  <a16:creationId xmlns:a16="http://schemas.microsoft.com/office/drawing/2014/main" id="{D8C92F4D-60FE-4C2B-B874-F8C8C7AC4F4A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376920" y="4225697"/>
              <a:ext cx="3369692" cy="248787"/>
            </a:xfrm>
            <a:prstGeom prst="roundRect">
              <a:avLst>
                <a:gd name="adj" fmla="val 100000"/>
              </a:avLst>
            </a:prstGeom>
            <a:solidFill>
              <a:srgbClr val="331145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rgbClr val="331145"/>
                </a:solidFill>
              </a:endParaRPr>
            </a:p>
          </p:txBody>
        </p:sp>
        <p:sp>
          <p:nvSpPr>
            <p:cNvPr id="103" name="OTLSHAPE_T_e6f5c918bdd649a1ac919cf22468a23b_Title">
              <a:extLst>
                <a:ext uri="{FF2B5EF4-FFF2-40B4-BE49-F238E27FC236}">
                  <a16:creationId xmlns:a16="http://schemas.microsoft.com/office/drawing/2014/main" id="{70E230F9-8119-4D1A-A9A7-2BA9C57BB6BE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4693080" y="4265181"/>
              <a:ext cx="2442931" cy="17880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pl-PL" sz="1100" b="1" dirty="0">
                  <a:solidFill>
                    <a:schemeClr val="bg1"/>
                  </a:solidFill>
                  <a:latin typeface="Calibri"/>
                </a:rPr>
                <a:t>Service</a:t>
              </a:r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 Virtualization test modules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E0A2DD0-3ED3-4983-AC9B-7327ADBEEEC9}"/>
              </a:ext>
            </a:extLst>
          </p:cNvPr>
          <p:cNvGrpSpPr/>
          <p:nvPr/>
        </p:nvGrpSpPr>
        <p:grpSpPr>
          <a:xfrm>
            <a:off x="4600885" y="5046627"/>
            <a:ext cx="2824401" cy="204430"/>
            <a:chOff x="6105159" y="4709087"/>
            <a:chExt cx="3317541" cy="277470"/>
          </a:xfrm>
        </p:grpSpPr>
        <p:sp>
          <p:nvSpPr>
            <p:cNvPr id="106" name="OTLSHAPE_T_e6f5c918bdd649a1ac919cf22468a23b_Shape">
              <a:extLst>
                <a:ext uri="{FF2B5EF4-FFF2-40B4-BE49-F238E27FC236}">
                  <a16:creationId xmlns:a16="http://schemas.microsoft.com/office/drawing/2014/main" id="{22836CBF-8FE2-49FF-AFF9-DFC21EA0806A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6105159" y="4709087"/>
              <a:ext cx="3317541" cy="277470"/>
            </a:xfrm>
            <a:prstGeom prst="roundRect">
              <a:avLst>
                <a:gd name="adj" fmla="val 100000"/>
              </a:avLst>
            </a:pr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07" name="OTLSHAPE_T_e6f5c918bdd649a1ac919cf22468a23b_Title">
              <a:extLst>
                <a:ext uri="{FF2B5EF4-FFF2-40B4-BE49-F238E27FC236}">
                  <a16:creationId xmlns:a16="http://schemas.microsoft.com/office/drawing/2014/main" id="{287D010F-0A51-4693-A5FF-FC4E9BAEAFF6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583135" y="4777663"/>
              <a:ext cx="2072978" cy="16161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r"/>
              <a:r>
                <a:rPr lang="pl-PL" sz="1100" b="1" dirty="0">
                  <a:solidFill>
                    <a:schemeClr val="bg1"/>
                  </a:solidFill>
                  <a:latin typeface="Calibri"/>
                </a:rPr>
                <a:t>Queue</a:t>
              </a:r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 (</a:t>
              </a:r>
              <a:r>
                <a:rPr lang="pl-PL" sz="1100" b="1" dirty="0">
                  <a:solidFill>
                    <a:schemeClr val="bg1"/>
                  </a:solidFill>
                  <a:latin typeface="Calibri"/>
                </a:rPr>
                <a:t>MQ</a:t>
              </a:r>
              <a:r>
                <a:rPr lang="en-US" sz="1100" b="1" dirty="0">
                  <a:solidFill>
                    <a:schemeClr val="bg1"/>
                  </a:solidFill>
                  <a:latin typeface="Calibri"/>
                </a:rPr>
                <a:t>) test modules</a:t>
              </a:r>
            </a:p>
          </p:txBody>
        </p:sp>
      </p:grpSp>
      <p:sp>
        <p:nvSpPr>
          <p:cNvPr id="109" name="OTLSHAPE_TB_00000000000000000000000000000000_TimescaleInterval8">
            <a:extLst>
              <a:ext uri="{FF2B5EF4-FFF2-40B4-BE49-F238E27FC236}">
                <a16:creationId xmlns:a16="http://schemas.microsoft.com/office/drawing/2014/main" id="{1856C847-9B61-4252-BEBD-277E5CEC9ABD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249180" y="2760978"/>
            <a:ext cx="16054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7" dirty="0">
                <a:latin typeface="Calibri" panose="020F0502020204030204" pitchFamily="34" charset="0"/>
              </a:rPr>
              <a:t>Oct</a:t>
            </a:r>
          </a:p>
        </p:txBody>
      </p:sp>
      <p:sp>
        <p:nvSpPr>
          <p:cNvPr id="110" name="OTLSHAPE_TB_00000000000000000000000000000000_TimescaleInterval2">
            <a:extLst>
              <a:ext uri="{FF2B5EF4-FFF2-40B4-BE49-F238E27FC236}">
                <a16:creationId xmlns:a16="http://schemas.microsoft.com/office/drawing/2014/main" id="{28B34E59-3C20-4D35-B6EC-131A6AC7F320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6964194" y="2760978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Nov</a:t>
            </a:r>
          </a:p>
        </p:txBody>
      </p:sp>
      <p:sp>
        <p:nvSpPr>
          <p:cNvPr id="111" name="OTLSHAPE_TB_00000000000000000000000000000000_TimescaleInterval2">
            <a:extLst>
              <a:ext uri="{FF2B5EF4-FFF2-40B4-BE49-F238E27FC236}">
                <a16:creationId xmlns:a16="http://schemas.microsoft.com/office/drawing/2014/main" id="{006939C7-C0A4-489D-BFF4-D3DD169A2ABE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699825" y="2760978"/>
            <a:ext cx="143271" cy="16395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1800" spc="-14" dirty="0">
                <a:latin typeface="Calibri" panose="020F0502020204030204" pitchFamily="34" charset="0"/>
              </a:rPr>
              <a:t>Dec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2E96822B-47F4-4A5D-9A28-362AA6F8A003}"/>
              </a:ext>
            </a:extLst>
          </p:cNvPr>
          <p:cNvGrpSpPr/>
          <p:nvPr/>
        </p:nvGrpSpPr>
        <p:grpSpPr>
          <a:xfrm>
            <a:off x="5704164" y="1227981"/>
            <a:ext cx="735974" cy="620383"/>
            <a:chOff x="5273441" y="1970842"/>
            <a:chExt cx="864474" cy="704018"/>
          </a:xfrm>
        </p:grpSpPr>
        <p:sp>
          <p:nvSpPr>
            <p:cNvPr id="113" name="OTLSHAPE_M_a54bc827b05146d18b559f618723e2b4_Shape">
              <a:extLst>
                <a:ext uri="{FF2B5EF4-FFF2-40B4-BE49-F238E27FC236}">
                  <a16:creationId xmlns:a16="http://schemas.microsoft.com/office/drawing/2014/main" id="{54A2E4F4-C0B2-4BF7-B497-C60657EF12AC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588166" y="2420860"/>
              <a:ext cx="228600" cy="254000"/>
            </a:xfrm>
            <a:prstGeom prst="teardrop">
              <a:avLst/>
            </a:prstGeom>
            <a:solidFill>
              <a:srgbClr val="AD333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5" name="OTLSHAPE_M_a54bc827b05146d18b559f618723e2b4_Title">
              <a:extLst>
                <a:ext uri="{FF2B5EF4-FFF2-40B4-BE49-F238E27FC236}">
                  <a16:creationId xmlns:a16="http://schemas.microsoft.com/office/drawing/2014/main" id="{DE7D1410-0352-411B-AA67-3161ABADA5F4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5273441" y="1970842"/>
              <a:ext cx="864474" cy="38419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A82B36"/>
                  </a:solidFill>
                  <a:latin typeface="Calibri" panose="020F0502020204030204" pitchFamily="34" charset="0"/>
                </a:rPr>
                <a:t>WebAPI module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6C55505D-D030-4C1B-9075-98E0BC7F20AC}"/>
              </a:ext>
            </a:extLst>
          </p:cNvPr>
          <p:cNvGrpSpPr/>
          <p:nvPr/>
        </p:nvGrpSpPr>
        <p:grpSpPr>
          <a:xfrm>
            <a:off x="7059806" y="1999501"/>
            <a:ext cx="730959" cy="648710"/>
            <a:chOff x="5662241" y="1988096"/>
            <a:chExt cx="730959" cy="648710"/>
          </a:xfrm>
        </p:grpSpPr>
        <p:sp>
          <p:nvSpPr>
            <p:cNvPr id="128" name="OTLSHAPE_M_7f583de0854a4cacb89837f3a379bb4a_Title">
              <a:extLst>
                <a:ext uri="{FF2B5EF4-FFF2-40B4-BE49-F238E27FC236}">
                  <a16:creationId xmlns:a16="http://schemas.microsoft.com/office/drawing/2014/main" id="{E2F534F7-870C-444E-958D-44F5F7772662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5662241" y="1988096"/>
              <a:ext cx="730959" cy="33855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100" b="1" spc="-5" dirty="0">
                  <a:solidFill>
                    <a:srgbClr val="56181E"/>
                  </a:solidFill>
                  <a:latin typeface="Calibri" panose="020F0502020204030204" pitchFamily="34" charset="0"/>
                </a:rPr>
                <a:t>Queue</a:t>
              </a:r>
              <a:br>
                <a:rPr lang="en-US" sz="1100" b="1" spc="-5" dirty="0">
                  <a:solidFill>
                    <a:srgbClr val="56181E"/>
                  </a:solidFill>
                  <a:latin typeface="Calibri" panose="020F0502020204030204" pitchFamily="34" charset="0"/>
                </a:rPr>
              </a:br>
              <a:r>
                <a:rPr lang="en-US" sz="1100" b="1" spc="-5" dirty="0">
                  <a:solidFill>
                    <a:srgbClr val="56181E"/>
                  </a:solidFill>
                  <a:latin typeface="Calibri" panose="020F0502020204030204" pitchFamily="34" charset="0"/>
                </a:rPr>
                <a:t>module</a:t>
              </a:r>
            </a:p>
          </p:txBody>
        </p:sp>
        <p:sp>
          <p:nvSpPr>
            <p:cNvPr id="127" name="OTLSHAPE_M_a54bc827b05146d18b559f618723e2b4_Shape">
              <a:extLst>
                <a:ext uri="{FF2B5EF4-FFF2-40B4-BE49-F238E27FC236}">
                  <a16:creationId xmlns:a16="http://schemas.microsoft.com/office/drawing/2014/main" id="{ECD30BD0-9A01-41C1-BAA2-69DEAC25656B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910541" y="2412980"/>
              <a:ext cx="194619" cy="223826"/>
            </a:xfrm>
            <a:prstGeom prst="teardrop">
              <a:avLst/>
            </a:prstGeom>
            <a:solidFill>
              <a:srgbClr val="612429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>
                      <a:scrgbClr r="0" g="0" b="0">
                        <a:alpha val="50000"/>
                      </a:scrgbClr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35915483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HIDDEN" val="False"/>
  <p:tag name="FILLFORECOLOR" val="1736420"/>
  <p:tag name="FILLFORESCHEMECOLOR" val="6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</TotalTime>
  <Words>2010</Words>
  <Application>Microsoft Office PowerPoint</Application>
  <PresentationFormat>A4 Paper (210x297 mm)</PresentationFormat>
  <Paragraphs>470</Paragraphs>
  <Slides>41</Slides>
  <Notes>19</Notes>
  <HiddenSlides>5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52" baseType="lpstr">
      <vt:lpstr>Arial</vt:lpstr>
      <vt:lpstr>Calibri</vt:lpstr>
      <vt:lpstr>Corbel</vt:lpstr>
      <vt:lpstr>Rockwell Extra Bold</vt:lpstr>
      <vt:lpstr>Symbol</vt:lpstr>
      <vt:lpstr>Wingdings</vt:lpstr>
      <vt:lpstr>Blank</vt:lpstr>
      <vt:lpstr>Closing slides</vt:lpstr>
      <vt:lpstr>Section break</vt:lpstr>
      <vt:lpstr>think-cell Slide</vt:lpstr>
      <vt:lpstr>think-cell Folie</vt:lpstr>
      <vt:lpstr>PowerPoint Presentation</vt:lpstr>
      <vt:lpstr>America was already discovered,  why we would like to explore it all over again? </vt:lpstr>
      <vt:lpstr>Nearshore Test Center  Allure End to End test framework</vt:lpstr>
      <vt:lpstr>E2E Test Framework for DevOps &amp; Smart Automation</vt:lpstr>
      <vt:lpstr>Where we all are</vt:lpstr>
      <vt:lpstr>E2E Test Framework modules</vt:lpstr>
      <vt:lpstr>Benefits to project</vt:lpstr>
      <vt:lpstr>E2E Test Framework modules</vt:lpstr>
      <vt:lpstr>Mr Checker E2E Framework road map</vt:lpstr>
      <vt:lpstr>Key takeaways</vt:lpstr>
      <vt:lpstr>Mr Checker E2E test framework modules</vt:lpstr>
      <vt:lpstr>Mr Checker E2E Test Framework modules Overview status</vt:lpstr>
      <vt:lpstr>E2E Test Framework modules Test Core module</vt:lpstr>
      <vt:lpstr>Core functionality ingredi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st Case -  system under test environments</vt:lpstr>
      <vt:lpstr>E2E Test Framework modules UI test module</vt:lpstr>
      <vt:lpstr>UI Selenium test module ingredients</vt:lpstr>
      <vt:lpstr>PowerPoint Presentation</vt:lpstr>
      <vt:lpstr>PowerPoint Presentation</vt:lpstr>
      <vt:lpstr>One Test Case fits all browsers – Firefox, Chrome, IE, Edge, Safari, PhantomJS</vt:lpstr>
      <vt:lpstr>PowerPoint Presentation</vt:lpstr>
      <vt:lpstr>PowerPoint Presentation</vt:lpstr>
      <vt:lpstr>E2E Test Framework modules Selenium Grid module</vt:lpstr>
      <vt:lpstr>Selenium Grid infrastructure ingredients</vt:lpstr>
      <vt:lpstr>DevOps infrastructure ingredients</vt:lpstr>
      <vt:lpstr>E2E Test Framework modules WebAPI test module</vt:lpstr>
      <vt:lpstr>WebAPI test module ingredients</vt:lpstr>
      <vt:lpstr>Security test module ingredients </vt:lpstr>
      <vt:lpstr>Database test module ingredients</vt:lpstr>
      <vt:lpstr>Mobile App test module * ingredients</vt:lpstr>
      <vt:lpstr>Mobile Grid infrastructure * ingredients</vt:lpstr>
      <vt:lpstr>Standalone app test module* ingredients </vt:lpstr>
      <vt:lpstr>E2E Test Framework for DevOps &amp; Smart Autom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2E Test Framework for DevOps &amp; Smart Automation</dc:title>
  <dc:creator>LUSTEFAN</dc:creator>
  <cp:lastModifiedBy>Stefaniszyn, Lukasz</cp:lastModifiedBy>
  <cp:revision>261</cp:revision>
  <dcterms:created xsi:type="dcterms:W3CDTF">2017-07-27T11:13:13Z</dcterms:created>
  <dcterms:modified xsi:type="dcterms:W3CDTF">2019-02-18T09:59:13Z</dcterms:modified>
</cp:coreProperties>
</file>